
<file path=[Content_Types].xml><?xml version="1.0" encoding="utf-8"?>
<Types xmlns="http://schemas.openxmlformats.org/package/2006/content-types">
  <Default Extension="xml" ContentType="application/xml"/>
  <Default Extension="rels" ContentType="application/vnd.openxmlformats-package.relationships+xml"/>
  <Default Extension="png" ContentType="image/png"/>
  <Default Extension="jpeg" ContentType="image/jpeg"/>
  <Override PartName="/_rels/.rels" ContentType="application/vnd.openxmlformats-package.relationships+xml"/>
  <Override PartName="/docProps/core.xml" ContentType="application/vnd.openxmlformats-package.core-properties+xml"/>
  <Override PartName="/docProps/custom.xml" ContentType="application/vnd.openxmlformats-officedocument.custom-properties+xml"/>
  <Override PartName="/docProps/app.xml" ContentType="application/vnd.openxmlformats-officedocument.extended-properties+xml"/>
  <Override PartName="/customXml/_rels/item8.xml.rels" ContentType="application/vnd.openxmlformats-package.relationships+xml"/>
  <Override PartName="/customXml/_rels/item1.xml.rels" ContentType="application/vnd.openxmlformats-package.relationships+xml"/>
  <Override PartName="/customXml/_rels/item2.xml.rels" ContentType="application/vnd.openxmlformats-package.relationships+xml"/>
  <Override PartName="/customXml/_rels/item3.xml.rels" ContentType="application/vnd.openxmlformats-package.relationships+xml"/>
  <Override PartName="/customXml/_rels/item4.xml.rels" ContentType="application/vnd.openxmlformats-package.relationships+xml"/>
  <Override PartName="/customXml/_rels/item5.xml.rels" ContentType="application/vnd.openxmlformats-package.relationships+xml"/>
  <Override PartName="/customXml/_rels/item6.xml.rels" ContentType="application/vnd.openxmlformats-package.relationships+xml"/>
  <Override PartName="/customXml/_rels/item7.xml.rels" ContentType="application/vnd.openxmlformats-package.relationships+xml"/>
  <Override PartName="/customXml/item7.xml" ContentType="application/xml"/>
  <Override PartName="/customXml/item6.xml" ContentType="application/xml"/>
  <Override PartName="/customXml/item5.xml" ContentType="application/xml"/>
  <Override PartName="/customXml/itemProps8.xml" ContentType="application/vnd.openxmlformats-officedocument.customXmlProperties+xml"/>
  <Override PartName="/customXml/item4.xml" ContentType="application/xml"/>
  <Override PartName="/customXml/item8.xml" ContentType="application/xml"/>
  <Override PartName="/customXml/itemProps7.xml" ContentType="application/vnd.openxmlformats-officedocument.customXmlProperties+xml"/>
  <Override PartName="/customXml/item3.xml" ContentType="application/xml"/>
  <Override PartName="/customXml/item1.xml" ContentType="application/xml"/>
  <Override PartName="/customXml/itemProps5.xml" ContentType="application/vnd.openxmlformats-officedocument.customXmlProperties+xml"/>
  <Override PartName="/customXml/itemProps1.xml" ContentType="application/vnd.openxmlformats-officedocument.customXmlProperties+xml"/>
  <Override PartName="/customXml/item2.xml" ContentType="application/xml"/>
  <Override PartName="/customXml/itemProps6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_rels/presentation.xml.rels" ContentType="application/vnd.openxmlformats-package.relationships+xml"/>
  <Override PartName="/ppt/presentation.xml" ContentType="application/vnd.openxmlformats-officedocument.presentationml.presentation.main+xml"/>
  <Override PartName="/ppt/presProps.xml" ContentType="application/vnd.openxmlformats-officedocument.presentationml.presProps+xml"/>
  <Override PartName="/ppt/slideMasters/_rels/slideMaster1.xml.rels" ContentType="application/vnd.openxmlformats-package.relationships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_rels/slideLayout12.xml.rels" ContentType="application/vnd.openxmlformats-package.relationships+xml"/>
  <Override PartName="/ppt/slideLayouts/_rels/slideLayout8.xml.rels" ContentType="application/vnd.openxmlformats-package.relationships+xml"/>
  <Override PartName="/ppt/slideLayouts/_rels/slideLayout11.xml.rels" ContentType="application/vnd.openxmlformats-package.relationships+xml"/>
  <Override PartName="/ppt/slideLayouts/_rels/slideLayout7.xml.rels" ContentType="application/vnd.openxmlformats-package.relationships+xml"/>
  <Override PartName="/ppt/slideLayouts/_rels/slideLayout10.xml.rels" ContentType="application/vnd.openxmlformats-package.relationships+xml"/>
  <Override PartName="/ppt/slideLayouts/_rels/slideLayout6.xml.rels" ContentType="application/vnd.openxmlformats-package.relationships+xml"/>
  <Override PartName="/ppt/slideLayouts/_rels/slideLayout9.xml.rels" ContentType="application/vnd.openxmlformats-package.relationships+xml"/>
  <Override PartName="/ppt/slideLayouts/_rels/slideLayout5.xml.rels" ContentType="application/vnd.openxmlformats-package.relationships+xml"/>
  <Override PartName="/ppt/slideLayouts/_rels/slideLayout4.xml.rels" ContentType="application/vnd.openxmlformats-package.relationships+xml"/>
  <Override PartName="/ppt/slideLayouts/_rels/slideLayout3.xml.rels" ContentType="application/vnd.openxmlformats-package.relationships+xml"/>
  <Override PartName="/ppt/slideLayouts/_rels/slideLayout2.xml.rels" ContentType="application/vnd.openxmlformats-package.relationships+xml"/>
  <Override PartName="/ppt/slideLayouts/_rels/slideLayout1.xml.rels" ContentType="application/vnd.openxmlformats-package.relationship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1.xml" ContentType="application/vnd.openxmlformats-officedocument.theme+xml"/>
  <Override PartName="/ppt/embeddings/oleObject1.bin" ContentType="application/vnd.openxmlformats-officedocument.oleObject"/>
  <Override PartName="/ppt/media/image1.wmf" ContentType="image/x-wmf"/>
  <Override PartName="/ppt/media/image2.png" ContentType="image/png"/>
  <Override PartName="/ppt/media/image3.png" ContentType="image/png"/>
  <Override PartName="/ppt/media/image4.png" ContentType="image/png"/>
  <Override PartName="/ppt/slides/_rels/slide1.xml.rels" ContentType="application/vnd.openxmlformats-package.relationships+xml"/>
  <Override PartName="/ppt/slides/slide1.xml" ContentType="application/vnd.openxmlformats-officedocument.presentationml.slide+xml"/>
</Types>
</file>

<file path=_rels/.rels><?xml version="1.0" encoding="UTF-8"?>
<Relationships xmlns="http://schemas.openxmlformats.org/package/2006/relationships"><Relationship Id="rId1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3" Type="http://schemas.openxmlformats.org/officeDocument/2006/relationships/custom-properties" Target="docProps/custom.xml"/><Relationship Id="rId4" Type="http://schemas.openxmlformats.org/officeDocument/2006/relationships/customXml" Target="../customXml/item1.xml"/><Relationship Id="rId5" Type="http://schemas.openxmlformats.org/officeDocument/2006/relationships/customXml" Target="../customXml/item2.xml"/><Relationship Id="rId6" Type="http://schemas.openxmlformats.org/officeDocument/2006/relationships/customXml" Target="../customXml/item3.xml"/><Relationship Id="rId7" Type="http://schemas.openxmlformats.org/officeDocument/2006/relationships/customXml" Target="../customXml/item4.xml"/><Relationship Id="rId8" Type="http://schemas.openxmlformats.org/officeDocument/2006/relationships/customXml" Target="../customXml/item5.xml"/><Relationship Id="rId9" Type="http://schemas.openxmlformats.org/officeDocument/2006/relationships/customXml" Target="../customXml/item6.xml"/><Relationship Id="rId10" Type="http://schemas.openxmlformats.org/officeDocument/2006/relationships/customXml" Target="../customXml/item7.xml"/><Relationship Id="rId11" Type="http://schemas.openxmlformats.org/officeDocument/2006/relationships/customXml" Target="../customXml/item8.xml"/><Relationship Id="rId12" Type="http://schemas.openxmlformats.org/officeDocument/2006/relationships/officeDocument" Target="ppt/presentation.xml"/>
</Relationships>
</file>

<file path=ppt/presentation.xml><?xml version="1.0" encoding="utf-8"?>
<p:presentation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sldMasterIdLst>
    <p:sldMasterId id="2147483648" r:id="rId2"/>
  </p:sldMasterIdLst>
  <p:sldIdLst>
    <p:sldId id="256" r:id="rId3"/>
  </p:sldIdLst>
  <p:sldSz cx="6858000" cy="9906000"/>
  <p:notesSz cx="7772400" cy="10058400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/>
</p:presentationPr>
</file>

<file path=ppt/_rels/presentation.xml.rels><?xml version="1.0" encoding="UTF-8"?>
<Relationships xmlns="http://schemas.openxmlformats.org/package/2006/relationships"><Relationship Id="rId1" Type="http://schemas.openxmlformats.org/officeDocument/2006/relationships/theme" Target="theme/theme1.xml"/><Relationship Id="rId2" Type="http://schemas.openxmlformats.org/officeDocument/2006/relationships/slideMaster" Target="slideMasters/slideMaster1.xml"/><Relationship Id="rId3" Type="http://schemas.openxmlformats.org/officeDocument/2006/relationships/slide" Target="slides/slide1.xml"/><Relationship Id="rId4" Type="http://schemas.openxmlformats.org/officeDocument/2006/relationships/presProps" Target="presProps.xml"/>
</Relationships>
</file>

<file path=ppt/slideLayouts/_rels/slideLayout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slideLayout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38E0566B-EB8A-474F-B59A-2D89AC280AD5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1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1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laceHolder 1"/>
          <p:cNvSpPr>
            <a:spLocks noGrp="1"/>
          </p:cNvSpPr>
          <p:nvPr>
            <p:ph type="title"/>
          </p:nvPr>
        </p:nvSpPr>
        <p:spPr>
          <a:xfrm>
            <a:off x="514440" y="1621080"/>
            <a:ext cx="5829120" cy="3448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endParaRPr b="0" lang="en-US" sz="18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8" name="PlaceHolder 2"/>
          <p:cNvSpPr>
            <a:spLocks noGrp="1"/>
          </p:cNvSpPr>
          <p:nvPr>
            <p:ph/>
          </p:nvPr>
        </p:nvSpPr>
        <p:spPr>
          <a:xfrm>
            <a:off x="342720" y="2317680"/>
            <a:ext cx="6171840" cy="2739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b="0" lang="en-US" sz="21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9" name="PlaceHolder 3"/>
          <p:cNvSpPr>
            <a:spLocks noGrp="1"/>
          </p:cNvSpPr>
          <p:nvPr>
            <p:ph/>
          </p:nvPr>
        </p:nvSpPr>
        <p:spPr>
          <a:xfrm>
            <a:off x="342720" y="5318280"/>
            <a:ext cx="6171840" cy="2739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b="0" lang="en-US" sz="21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F1EA7A16-668E-446F-A693-8E6BDB63CB34}" type="slidenum">
              <a:t>&lt;#&gt;</a:t>
            </a:fld>
          </a:p>
        </p:txBody>
      </p:sp>
      <p:sp>
        <p:nvSpPr>
          <p:cNvPr id="7" name="PlaceHolder 6"/>
          <p:cNvSpPr>
            <a:spLocks noGrp="1"/>
          </p:cNvSpPr>
          <p:nvPr>
            <p:ph type="dt" idx="1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1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laceHolder 1"/>
          <p:cNvSpPr>
            <a:spLocks noGrp="1"/>
          </p:cNvSpPr>
          <p:nvPr>
            <p:ph type="title"/>
          </p:nvPr>
        </p:nvSpPr>
        <p:spPr>
          <a:xfrm>
            <a:off x="514440" y="1621080"/>
            <a:ext cx="5829120" cy="3448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endParaRPr b="0" lang="en-US" sz="18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1" name="PlaceHolder 2"/>
          <p:cNvSpPr>
            <a:spLocks noGrp="1"/>
          </p:cNvSpPr>
          <p:nvPr>
            <p:ph/>
          </p:nvPr>
        </p:nvSpPr>
        <p:spPr>
          <a:xfrm>
            <a:off x="342720" y="2317680"/>
            <a:ext cx="3011760" cy="2739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b="0" lang="en-US" sz="21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2" name="PlaceHolder 3"/>
          <p:cNvSpPr>
            <a:spLocks noGrp="1"/>
          </p:cNvSpPr>
          <p:nvPr>
            <p:ph/>
          </p:nvPr>
        </p:nvSpPr>
        <p:spPr>
          <a:xfrm>
            <a:off x="3505320" y="2317680"/>
            <a:ext cx="3011760" cy="2739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b="0" lang="en-US" sz="21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3" name="PlaceHolder 4"/>
          <p:cNvSpPr>
            <a:spLocks noGrp="1"/>
          </p:cNvSpPr>
          <p:nvPr>
            <p:ph/>
          </p:nvPr>
        </p:nvSpPr>
        <p:spPr>
          <a:xfrm>
            <a:off x="342720" y="5318280"/>
            <a:ext cx="3011760" cy="2739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b="0" lang="en-US" sz="21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4" name="PlaceHolder 5"/>
          <p:cNvSpPr>
            <a:spLocks noGrp="1"/>
          </p:cNvSpPr>
          <p:nvPr>
            <p:ph/>
          </p:nvPr>
        </p:nvSpPr>
        <p:spPr>
          <a:xfrm>
            <a:off x="3505320" y="5318280"/>
            <a:ext cx="3011760" cy="2739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b="0" lang="en-US" sz="21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8" name="PlaceHolder 7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9EA1B159-EFB7-4D9D-B4AC-8A2E224A6BC8}" type="slidenum">
              <a:t>&lt;#&gt;</a:t>
            </a:fld>
          </a:p>
        </p:txBody>
      </p:sp>
      <p:sp>
        <p:nvSpPr>
          <p:cNvPr id="9" name="PlaceHolder 8"/>
          <p:cNvSpPr>
            <a:spLocks noGrp="1"/>
          </p:cNvSpPr>
          <p:nvPr>
            <p:ph type="dt" idx="1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1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laceHolder 1"/>
          <p:cNvSpPr>
            <a:spLocks noGrp="1"/>
          </p:cNvSpPr>
          <p:nvPr>
            <p:ph type="title"/>
          </p:nvPr>
        </p:nvSpPr>
        <p:spPr>
          <a:xfrm>
            <a:off x="514440" y="1621080"/>
            <a:ext cx="5829120" cy="3448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endParaRPr b="0" lang="en-US" sz="18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6" name="PlaceHolder 2"/>
          <p:cNvSpPr>
            <a:spLocks noGrp="1"/>
          </p:cNvSpPr>
          <p:nvPr>
            <p:ph/>
          </p:nvPr>
        </p:nvSpPr>
        <p:spPr>
          <a:xfrm>
            <a:off x="342720" y="2317680"/>
            <a:ext cx="1987200" cy="2739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b="0" lang="en-US" sz="21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7" name="PlaceHolder 3"/>
          <p:cNvSpPr>
            <a:spLocks noGrp="1"/>
          </p:cNvSpPr>
          <p:nvPr>
            <p:ph/>
          </p:nvPr>
        </p:nvSpPr>
        <p:spPr>
          <a:xfrm>
            <a:off x="2429640" y="2317680"/>
            <a:ext cx="1987200" cy="2739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b="0" lang="en-US" sz="21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8" name="PlaceHolder 4"/>
          <p:cNvSpPr>
            <a:spLocks noGrp="1"/>
          </p:cNvSpPr>
          <p:nvPr>
            <p:ph/>
          </p:nvPr>
        </p:nvSpPr>
        <p:spPr>
          <a:xfrm>
            <a:off x="4516560" y="2317680"/>
            <a:ext cx="1987200" cy="2739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b="0" lang="en-US" sz="21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9" name="PlaceHolder 5"/>
          <p:cNvSpPr>
            <a:spLocks noGrp="1"/>
          </p:cNvSpPr>
          <p:nvPr>
            <p:ph/>
          </p:nvPr>
        </p:nvSpPr>
        <p:spPr>
          <a:xfrm>
            <a:off x="342720" y="5318280"/>
            <a:ext cx="1987200" cy="2739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b="0" lang="en-US" sz="21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0" name="PlaceHolder 6"/>
          <p:cNvSpPr>
            <a:spLocks noGrp="1"/>
          </p:cNvSpPr>
          <p:nvPr>
            <p:ph/>
          </p:nvPr>
        </p:nvSpPr>
        <p:spPr>
          <a:xfrm>
            <a:off x="2429640" y="5318280"/>
            <a:ext cx="1987200" cy="2739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b="0" lang="en-US" sz="21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1" name="PlaceHolder 7"/>
          <p:cNvSpPr>
            <a:spLocks noGrp="1"/>
          </p:cNvSpPr>
          <p:nvPr>
            <p:ph/>
          </p:nvPr>
        </p:nvSpPr>
        <p:spPr>
          <a:xfrm>
            <a:off x="4516560" y="5318280"/>
            <a:ext cx="1987200" cy="2739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b="0" lang="en-US" sz="21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10" name="PlaceHolder 9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6BEBEDF6-0E4A-49BC-8125-7091130FAC7A}" type="slidenum">
              <a:t>&lt;#&gt;</a:t>
            </a:fld>
          </a:p>
        </p:txBody>
      </p:sp>
      <p:sp>
        <p:nvSpPr>
          <p:cNvPr id="11" name="PlaceHolder 10"/>
          <p:cNvSpPr>
            <a:spLocks noGrp="1"/>
          </p:cNvSpPr>
          <p:nvPr>
            <p:ph type="dt" idx="1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ceHolder 1"/>
          <p:cNvSpPr>
            <a:spLocks noGrp="1"/>
          </p:cNvSpPr>
          <p:nvPr>
            <p:ph type="title"/>
          </p:nvPr>
        </p:nvSpPr>
        <p:spPr>
          <a:xfrm>
            <a:off x="514440" y="1621080"/>
            <a:ext cx="5829120" cy="3448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endParaRPr b="0" lang="en-US" sz="18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PlaceHolder 2"/>
          <p:cNvSpPr>
            <a:spLocks noGrp="1"/>
          </p:cNvSpPr>
          <p:nvPr>
            <p:ph type="subTitle"/>
          </p:nvPr>
        </p:nvSpPr>
        <p:spPr>
          <a:xfrm>
            <a:off x="342720" y="2317680"/>
            <a:ext cx="6171840" cy="57448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en-US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8120EFC0-D9C9-40DD-B334-556E246434BC}" type="slidenum">
              <a:t>&lt;#&gt;</a:t>
            </a:fld>
          </a:p>
        </p:txBody>
      </p:sp>
      <p:sp>
        <p:nvSpPr>
          <p:cNvPr id="6" name="PlaceHolder 5"/>
          <p:cNvSpPr>
            <a:spLocks noGrp="1"/>
          </p:cNvSpPr>
          <p:nvPr>
            <p:ph type="dt" idx="1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ceHolder 1"/>
          <p:cNvSpPr>
            <a:spLocks noGrp="1"/>
          </p:cNvSpPr>
          <p:nvPr>
            <p:ph type="title"/>
          </p:nvPr>
        </p:nvSpPr>
        <p:spPr>
          <a:xfrm>
            <a:off x="514440" y="1621080"/>
            <a:ext cx="5829120" cy="3448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endParaRPr b="0" lang="en-US" sz="18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" name="PlaceHolder 2"/>
          <p:cNvSpPr>
            <a:spLocks noGrp="1"/>
          </p:cNvSpPr>
          <p:nvPr>
            <p:ph/>
          </p:nvPr>
        </p:nvSpPr>
        <p:spPr>
          <a:xfrm>
            <a:off x="342720" y="2317680"/>
            <a:ext cx="6171840" cy="57448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b="0" lang="en-US" sz="21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A6AC5EAB-4C60-4F15-B8B3-7387B0BB4155}" type="slidenum">
              <a:t>&lt;#&gt;</a:t>
            </a:fld>
          </a:p>
        </p:txBody>
      </p:sp>
      <p:sp>
        <p:nvSpPr>
          <p:cNvPr id="6" name="PlaceHolder 5"/>
          <p:cNvSpPr>
            <a:spLocks noGrp="1"/>
          </p:cNvSpPr>
          <p:nvPr>
            <p:ph type="dt" idx="1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ceHolder 1"/>
          <p:cNvSpPr>
            <a:spLocks noGrp="1"/>
          </p:cNvSpPr>
          <p:nvPr>
            <p:ph type="title"/>
          </p:nvPr>
        </p:nvSpPr>
        <p:spPr>
          <a:xfrm>
            <a:off x="514440" y="1621080"/>
            <a:ext cx="5829120" cy="3448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endParaRPr b="0" lang="en-US" sz="18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" name="PlaceHolder 2"/>
          <p:cNvSpPr>
            <a:spLocks noGrp="1"/>
          </p:cNvSpPr>
          <p:nvPr>
            <p:ph/>
          </p:nvPr>
        </p:nvSpPr>
        <p:spPr>
          <a:xfrm>
            <a:off x="342720" y="2317680"/>
            <a:ext cx="3011760" cy="57448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b="0" lang="en-US" sz="21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2" name="PlaceHolder 3"/>
          <p:cNvSpPr>
            <a:spLocks noGrp="1"/>
          </p:cNvSpPr>
          <p:nvPr>
            <p:ph/>
          </p:nvPr>
        </p:nvSpPr>
        <p:spPr>
          <a:xfrm>
            <a:off x="3505320" y="2317680"/>
            <a:ext cx="3011760" cy="57448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b="0" lang="en-US" sz="21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EB711F8C-701A-40F9-AEAC-B3E8FB0F3133}" type="slidenum">
              <a:t>&lt;#&gt;</a:t>
            </a:fld>
          </a:p>
        </p:txBody>
      </p:sp>
      <p:sp>
        <p:nvSpPr>
          <p:cNvPr id="7" name="PlaceHolder 6"/>
          <p:cNvSpPr>
            <a:spLocks noGrp="1"/>
          </p:cNvSpPr>
          <p:nvPr>
            <p:ph type="dt" idx="1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ceHolder 1"/>
          <p:cNvSpPr>
            <a:spLocks noGrp="1"/>
          </p:cNvSpPr>
          <p:nvPr>
            <p:ph type="title"/>
          </p:nvPr>
        </p:nvSpPr>
        <p:spPr>
          <a:xfrm>
            <a:off x="514440" y="1621080"/>
            <a:ext cx="5829120" cy="3448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endParaRPr b="0" lang="en-US" sz="18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8CC974B1-71DA-4CD5-8C5D-DFBB7C6FFCD5}" type="slidenum">
              <a:t>&lt;#&gt;</a:t>
            </a:fld>
          </a:p>
        </p:txBody>
      </p:sp>
      <p:sp>
        <p:nvSpPr>
          <p:cNvPr id="5" name="PlaceHolder 4"/>
          <p:cNvSpPr>
            <a:spLocks noGrp="1"/>
          </p:cNvSpPr>
          <p:nvPr>
            <p:ph type="dt" idx="1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ceHolder 1"/>
          <p:cNvSpPr>
            <a:spLocks noGrp="1"/>
          </p:cNvSpPr>
          <p:nvPr>
            <p:ph type="subTitle"/>
          </p:nvPr>
        </p:nvSpPr>
        <p:spPr>
          <a:xfrm>
            <a:off x="514440" y="1621080"/>
            <a:ext cx="5829120" cy="159861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/>
            <a:endParaRPr b="0" lang="en-US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B9158B17-95F8-46C8-A431-E479C1E9F4FF}" type="slidenum">
              <a:t>&lt;#&gt;</a:t>
            </a:fld>
          </a:p>
        </p:txBody>
      </p:sp>
      <p:sp>
        <p:nvSpPr>
          <p:cNvPr id="5" name="PlaceHolder 4"/>
          <p:cNvSpPr>
            <a:spLocks noGrp="1"/>
          </p:cNvSpPr>
          <p:nvPr>
            <p:ph type="dt" idx="1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ceHolder 1"/>
          <p:cNvSpPr>
            <a:spLocks noGrp="1"/>
          </p:cNvSpPr>
          <p:nvPr>
            <p:ph type="title"/>
          </p:nvPr>
        </p:nvSpPr>
        <p:spPr>
          <a:xfrm>
            <a:off x="514440" y="1621080"/>
            <a:ext cx="5829120" cy="3448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endParaRPr b="0" lang="en-US" sz="18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6" name="PlaceHolder 2"/>
          <p:cNvSpPr>
            <a:spLocks noGrp="1"/>
          </p:cNvSpPr>
          <p:nvPr>
            <p:ph/>
          </p:nvPr>
        </p:nvSpPr>
        <p:spPr>
          <a:xfrm>
            <a:off x="342720" y="2317680"/>
            <a:ext cx="3011760" cy="2739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b="0" lang="en-US" sz="21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7" name="PlaceHolder 3"/>
          <p:cNvSpPr>
            <a:spLocks noGrp="1"/>
          </p:cNvSpPr>
          <p:nvPr>
            <p:ph/>
          </p:nvPr>
        </p:nvSpPr>
        <p:spPr>
          <a:xfrm>
            <a:off x="3505320" y="2317680"/>
            <a:ext cx="3011760" cy="57448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b="0" lang="en-US" sz="21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8" name="PlaceHolder 4"/>
          <p:cNvSpPr>
            <a:spLocks noGrp="1"/>
          </p:cNvSpPr>
          <p:nvPr>
            <p:ph/>
          </p:nvPr>
        </p:nvSpPr>
        <p:spPr>
          <a:xfrm>
            <a:off x="342720" y="5318280"/>
            <a:ext cx="3011760" cy="2739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b="0" lang="en-US" sz="21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E569B462-1B03-47BD-A16D-4E5103EBCAB5}" type="slidenum">
              <a:t>&lt;#&gt;</a:t>
            </a:fld>
          </a:p>
        </p:txBody>
      </p:sp>
      <p:sp>
        <p:nvSpPr>
          <p:cNvPr id="8" name="PlaceHolder 7"/>
          <p:cNvSpPr>
            <a:spLocks noGrp="1"/>
          </p:cNvSpPr>
          <p:nvPr>
            <p:ph type="dt" idx="1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laceHolder 1"/>
          <p:cNvSpPr>
            <a:spLocks noGrp="1"/>
          </p:cNvSpPr>
          <p:nvPr>
            <p:ph type="title"/>
          </p:nvPr>
        </p:nvSpPr>
        <p:spPr>
          <a:xfrm>
            <a:off x="514440" y="1621080"/>
            <a:ext cx="5829120" cy="3448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endParaRPr b="0" lang="en-US" sz="18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0" name="PlaceHolder 2"/>
          <p:cNvSpPr>
            <a:spLocks noGrp="1"/>
          </p:cNvSpPr>
          <p:nvPr>
            <p:ph/>
          </p:nvPr>
        </p:nvSpPr>
        <p:spPr>
          <a:xfrm>
            <a:off x="342720" y="2317680"/>
            <a:ext cx="3011760" cy="57448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b="0" lang="en-US" sz="21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1" name="PlaceHolder 3"/>
          <p:cNvSpPr>
            <a:spLocks noGrp="1"/>
          </p:cNvSpPr>
          <p:nvPr>
            <p:ph/>
          </p:nvPr>
        </p:nvSpPr>
        <p:spPr>
          <a:xfrm>
            <a:off x="3505320" y="2317680"/>
            <a:ext cx="3011760" cy="2739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b="0" lang="en-US" sz="21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2" name="PlaceHolder 4"/>
          <p:cNvSpPr>
            <a:spLocks noGrp="1"/>
          </p:cNvSpPr>
          <p:nvPr>
            <p:ph/>
          </p:nvPr>
        </p:nvSpPr>
        <p:spPr>
          <a:xfrm>
            <a:off x="3505320" y="5318280"/>
            <a:ext cx="3011760" cy="2739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b="0" lang="en-US" sz="21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FDDD6EFC-E722-4A36-B2CA-D6CC91EEBCA4}" type="slidenum">
              <a:t>&lt;#&gt;</a:t>
            </a:fld>
          </a:p>
        </p:txBody>
      </p:sp>
      <p:sp>
        <p:nvSpPr>
          <p:cNvPr id="8" name="PlaceHolder 7"/>
          <p:cNvSpPr>
            <a:spLocks noGrp="1"/>
          </p:cNvSpPr>
          <p:nvPr>
            <p:ph type="dt" idx="1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Layouts/slideLayout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laceHolder 1"/>
          <p:cNvSpPr>
            <a:spLocks noGrp="1"/>
          </p:cNvSpPr>
          <p:nvPr>
            <p:ph type="title"/>
          </p:nvPr>
        </p:nvSpPr>
        <p:spPr>
          <a:xfrm>
            <a:off x="514440" y="1621080"/>
            <a:ext cx="5829120" cy="3448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endParaRPr b="0" lang="en-US" sz="18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4" name="PlaceHolder 2"/>
          <p:cNvSpPr>
            <a:spLocks noGrp="1"/>
          </p:cNvSpPr>
          <p:nvPr>
            <p:ph/>
          </p:nvPr>
        </p:nvSpPr>
        <p:spPr>
          <a:xfrm>
            <a:off x="342720" y="2317680"/>
            <a:ext cx="3011760" cy="2739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b="0" lang="en-US" sz="21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5" name="PlaceHolder 3"/>
          <p:cNvSpPr>
            <a:spLocks noGrp="1"/>
          </p:cNvSpPr>
          <p:nvPr>
            <p:ph/>
          </p:nvPr>
        </p:nvSpPr>
        <p:spPr>
          <a:xfrm>
            <a:off x="3505320" y="2317680"/>
            <a:ext cx="3011760" cy="2739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b="0" lang="en-US" sz="21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6" name="PlaceHolder 4"/>
          <p:cNvSpPr>
            <a:spLocks noGrp="1"/>
          </p:cNvSpPr>
          <p:nvPr>
            <p:ph/>
          </p:nvPr>
        </p:nvSpPr>
        <p:spPr>
          <a:xfrm>
            <a:off x="342720" y="5318280"/>
            <a:ext cx="6171840" cy="2739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b="0" lang="en-US" sz="21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A8A9144D-89DF-4944-BB91-BB7B7F4FCD18}" type="slidenum">
              <a:t>&lt;#&gt;</a:t>
            </a:fld>
          </a:p>
        </p:txBody>
      </p:sp>
      <p:sp>
        <p:nvSpPr>
          <p:cNvPr id="8" name="PlaceHolder 7"/>
          <p:cNvSpPr>
            <a:spLocks noGrp="1"/>
          </p:cNvSpPr>
          <p:nvPr>
            <p:ph type="dt" idx="1"/>
          </p:nvPr>
        </p:nvSpPr>
        <p:spPr/>
        <p:txBody>
          <a:bodyPr/>
          <a:p>
            <a:r>
              <a:rPr lang="en-US"/>
              <a:t/>
            </a:r>
          </a:p>
        </p:txBody>
      </p:sp>
    </p:spTree>
  </p:cSld>
</p:sldLayout>
</file>

<file path=ppt/slideMasters/_rels/slideMaster1.xml.rels><?xml version="1.0" encoding="UTF-8"?>
<Relationships xmlns="http://schemas.openxmlformats.org/package/2006/relationships"><Relationship Id="rId1" Type="http://schemas.openxmlformats.org/officeDocument/2006/relationships/theme" Target="../theme/theme1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.xml"/><Relationship Id="rId5" Type="http://schemas.openxmlformats.org/officeDocument/2006/relationships/slideLayout" Target="../slideLayouts/slideLayout2.xml"/><Relationship Id="rId6" Type="http://schemas.openxmlformats.org/officeDocument/2006/relationships/slideLayout" Target="../slideLayouts/slideLayout3.xml"/><Relationship Id="rId7" Type="http://schemas.openxmlformats.org/officeDocument/2006/relationships/slideLayout" Target="../slideLayouts/slideLayout4.xml"/><Relationship Id="rId8" Type="http://schemas.openxmlformats.org/officeDocument/2006/relationships/slideLayout" Target="../slideLayouts/slideLayout5.xml"/><Relationship Id="rId9" Type="http://schemas.openxmlformats.org/officeDocument/2006/relationships/slideLayout" Target="../slideLayouts/slideLayout6.xml"/><Relationship Id="rId10" Type="http://schemas.openxmlformats.org/officeDocument/2006/relationships/slideLayout" Target="../slideLayouts/slideLayout7.xml"/><Relationship Id="rId11" Type="http://schemas.openxmlformats.org/officeDocument/2006/relationships/slideLayout" Target="../slideLayouts/slideLayout8.xml"/><Relationship Id="rId12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12.xml"/>
</Relationships>
</file>

<file path=ppt/slideMasters/slideMaster1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0" name="think-cell data - do not delete"/>
          <p:cNvGraphicFramePr/>
          <p:nvPr/>
        </p:nvGraphicFramePr>
        <p:xfrm>
          <a:off x="1080" y="2160"/>
          <a:ext cx="720" cy="180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1" name="think-cell data - do not delete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080" y="2160"/>
                    <a:ext cx="720" cy="180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" name="PlaceHolder 1"/>
          <p:cNvSpPr>
            <a:spLocks noGrp="1"/>
          </p:cNvSpPr>
          <p:nvPr>
            <p:ph type="title"/>
          </p:nvPr>
        </p:nvSpPr>
        <p:spPr>
          <a:xfrm>
            <a:off x="514440" y="1621080"/>
            <a:ext cx="5829120" cy="3448440"/>
          </a:xfrm>
          <a:prstGeom prst="rect">
            <a:avLst/>
          </a:prstGeom>
          <a:noFill/>
          <a:ln w="0">
            <a:noFill/>
          </a:ln>
        </p:spPr>
        <p:txBody>
          <a:bodyPr anchor="b">
            <a:noAutofit/>
          </a:bodyPr>
          <a:p>
            <a:pPr indent="0" algn="ctr">
              <a:lnSpc>
                <a:spcPct val="90000"/>
              </a:lnSpc>
              <a:buNone/>
            </a:pPr>
            <a:r>
              <a:rPr b="0" lang="en-US" sz="4500" spc="-1" strike="noStrike">
                <a:solidFill>
                  <a:srgbClr val="000000"/>
                </a:solidFill>
                <a:latin typeface="Calibri Light"/>
              </a:rPr>
              <a:t>Click to edit Master title style</a:t>
            </a:r>
            <a:endParaRPr b="0" lang="en-US" sz="45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dt" idx="1"/>
          </p:nvPr>
        </p:nvSpPr>
        <p:spPr>
          <a:xfrm>
            <a:off x="471600" y="9181440"/>
            <a:ext cx="1542600" cy="527040"/>
          </a:xfrm>
          <a:prstGeom prst="rect">
            <a:avLst/>
          </a:prstGeom>
          <a:noFill/>
          <a:ln w="0">
            <a:noFill/>
          </a:ln>
        </p:spPr>
        <p:txBody>
          <a:bodyPr anchor="ctr">
            <a:noAutofit/>
          </a:bodyPr>
          <a:lstStyle>
            <a:lvl1pPr indent="0">
              <a:lnSpc>
                <a:spcPct val="100000"/>
              </a:lnSpc>
              <a:buNone/>
              <a:defRPr b="0" lang="en-US" sz="900" spc="-1" strike="noStrike">
                <a:solidFill>
                  <a:srgbClr val="8b8b8b"/>
                </a:solidFill>
                <a:latin typeface="Calibri"/>
              </a:defRPr>
            </a:lvl1pPr>
          </a:lstStyle>
          <a:p>
            <a:pPr indent="0">
              <a:lnSpc>
                <a:spcPct val="100000"/>
              </a:lnSpc>
              <a:buNone/>
            </a:pPr>
            <a:r>
              <a:rPr b="0" lang="en-US" sz="900" spc="-1" strike="noStrike">
                <a:solidFill>
                  <a:srgbClr val="8b8b8b"/>
                </a:solidFill>
                <a:latin typeface="Calibri"/>
              </a:rPr>
              <a:t>&lt;date/time&gt;</a:t>
            </a:r>
            <a:endParaRPr b="0" lang="en-US" sz="9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2"/>
          </p:nvPr>
        </p:nvSpPr>
        <p:spPr>
          <a:xfrm>
            <a:off x="2271600" y="9181440"/>
            <a:ext cx="2314080" cy="527040"/>
          </a:xfrm>
          <a:prstGeom prst="rect">
            <a:avLst/>
          </a:prstGeom>
          <a:noFill/>
          <a:ln w="0">
            <a:noFill/>
          </a:ln>
        </p:spPr>
        <p:txBody>
          <a:bodyPr anchor="ctr">
            <a:noAutofit/>
          </a:bodyPr>
          <a:lstStyle>
            <a:lvl1pPr indent="0" algn="ctr">
              <a:buNone/>
              <a:defRPr b="0" lang="en-US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buNone/>
            </a:pPr>
            <a:r>
              <a:rPr b="0" lang="en-US" sz="1400" spc="-1" strike="noStrike">
                <a:solidFill>
                  <a:srgbClr val="000000"/>
                </a:solidFill>
                <a:latin typeface="Times New Roman"/>
              </a:rPr>
              <a:t>&lt;footer&gt;</a:t>
            </a:r>
            <a:endParaRPr b="0" lang="en-US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3"/>
          </p:nvPr>
        </p:nvSpPr>
        <p:spPr>
          <a:xfrm>
            <a:off x="4843440" y="9181440"/>
            <a:ext cx="1542600" cy="527040"/>
          </a:xfrm>
          <a:prstGeom prst="rect">
            <a:avLst/>
          </a:prstGeom>
          <a:noFill/>
          <a:ln w="0">
            <a:noFill/>
          </a:ln>
        </p:spPr>
        <p:txBody>
          <a:bodyPr anchor="ctr">
            <a:noAutofit/>
          </a:bodyPr>
          <a:lstStyle>
            <a:lvl1pPr indent="0" algn="r">
              <a:lnSpc>
                <a:spcPct val="100000"/>
              </a:lnSpc>
              <a:buNone/>
              <a:defRPr b="0" lang="en-US" sz="900" spc="-1" strike="noStrike">
                <a:solidFill>
                  <a:srgbClr val="8b8b8b"/>
                </a:solidFill>
                <a:latin typeface="Calibri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A080D84B-2FB0-47A8-A919-7046B8E109B8}" type="slidenum">
              <a:rPr b="0" lang="en-US" sz="900" spc="-1" strike="noStrike">
                <a:solidFill>
                  <a:srgbClr val="8b8b8b"/>
                </a:solidFill>
                <a:latin typeface="Calibri"/>
              </a:rPr>
              <a:t>&lt;number&gt;</a:t>
            </a:fld>
            <a:endParaRPr b="0" lang="en-US" sz="9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49" r:id="rId4"/>
    <p:sldLayoutId id="2147483650" r:id="rId5"/>
    <p:sldLayoutId id="2147483651" r:id="rId6"/>
    <p:sldLayoutId id="2147483652" r:id="rId7"/>
    <p:sldLayoutId id="2147483653" r:id="rId8"/>
    <p:sldLayoutId id="2147483654" r:id="rId9"/>
    <p:sldLayoutId id="2147483655" r:id="rId10"/>
    <p:sldLayoutId id="2147483656" r:id="rId11"/>
    <p:sldLayoutId id="2147483657" r:id="rId12"/>
    <p:sldLayoutId id="2147483658" r:id="rId13"/>
    <p:sldLayoutId id="2147483659" r:id="rId14"/>
    <p:sldLayoutId id="2147483660" r:id="rId15"/>
  </p:sldLayoutIdLst>
</p:sldMaster>
</file>

<file path=ppt/slides/_rels/slide1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1.wmf"/><Relationship Id="rId3" Type="http://schemas.openxmlformats.org/officeDocument/2006/relationships/image" Target="../media/image2.png"/><Relationship Id="rId4" Type="http://schemas.openxmlformats.org/officeDocument/2006/relationships/image" Target="../media/image3.png"/><Relationship Id="rId5" Type="http://schemas.openxmlformats.org/officeDocument/2006/relationships/image" Target="../media/image4.png"/><Relationship Id="rId6" Type="http://schemas.openxmlformats.org/officeDocument/2006/relationships/slideLayout" Target="../slideLayouts/slideLayout2.xml"/>
</Relationships>
</file>

<file path=ppt/slides/slide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think-cell data - do not delete"/>
          <p:cNvGraphicFramePr/>
          <p:nvPr/>
        </p:nvGraphicFramePr>
        <p:xfrm>
          <a:off x="644400" y="1440"/>
          <a:ext cx="1080" cy="1080"/>
        </p:xfrm>
        <a:graphic>
          <a:graphicData uri="http://schemas.openxmlformats.org/presentationml/2006/ole">
            <p:oleObj progId="TCLayout.ActiveDocument.1" r:id="rId1" spid="">
              <p:embed/>
              <p:pic>
                <p:nvPicPr>
                  <p:cNvPr id="43" name="think-cell data - do not delete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644400" y="1440"/>
                    <a:ext cx="1080" cy="108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44" name="Rectangle 1"/>
          <p:cNvSpPr/>
          <p:nvPr/>
        </p:nvSpPr>
        <p:spPr>
          <a:xfrm>
            <a:off x="0" y="1378080"/>
            <a:ext cx="6857640" cy="1157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</a:pPr>
            <a:r>
              <a:rPr b="1" lang="en-IN" sz="1400" spc="-1" strike="noStrike">
                <a:solidFill>
                  <a:srgbClr val="004a91"/>
                </a:solidFill>
                <a:latin typeface="Arial"/>
                <a:ea typeface="Calibri"/>
              </a:rPr>
              <a:t>Webinar on Bharat Electricity Summit with special focus on GCC Region</a:t>
            </a:r>
            <a:endParaRPr b="0" lang="en-US" sz="140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45" name="Group 7"/>
          <p:cNvGrpSpPr/>
          <p:nvPr/>
        </p:nvGrpSpPr>
        <p:grpSpPr>
          <a:xfrm>
            <a:off x="5287680" y="622800"/>
            <a:ext cx="1392480" cy="504000"/>
            <a:chOff x="5287680" y="622800"/>
            <a:chExt cx="1392480" cy="504000"/>
          </a:xfrm>
        </p:grpSpPr>
        <p:sp>
          <p:nvSpPr>
            <p:cNvPr id="46" name="Graphic 13"/>
            <p:cNvSpPr/>
            <p:nvPr/>
          </p:nvSpPr>
          <p:spPr>
            <a:xfrm>
              <a:off x="5287680" y="622800"/>
              <a:ext cx="637560" cy="391320"/>
            </a:xfrm>
            <a:custGeom>
              <a:avLst/>
              <a:gdLst>
                <a:gd name="textAreaLeft" fmla="*/ 0 w 637560"/>
                <a:gd name="textAreaRight" fmla="*/ 637920 w 637560"/>
                <a:gd name="textAreaTop" fmla="*/ 0 h 391320"/>
                <a:gd name="textAreaBottom" fmla="*/ 391680 h 391320"/>
              </a:gdLst>
              <a:ahLst/>
              <a:rect l="textAreaLeft" t="textAreaTop" r="textAreaRight" b="textAreaBottom"/>
              <a:pathLst>
                <a:path w="609600" h="317500">
                  <a:moveTo>
                    <a:pt x="134010" y="274472"/>
                  </a:moveTo>
                  <a:lnTo>
                    <a:pt x="68567" y="274472"/>
                  </a:lnTo>
                  <a:lnTo>
                    <a:pt x="68567" y="165252"/>
                  </a:lnTo>
                  <a:lnTo>
                    <a:pt x="126873" y="165252"/>
                  </a:lnTo>
                  <a:lnTo>
                    <a:pt x="126873" y="127152"/>
                  </a:lnTo>
                  <a:lnTo>
                    <a:pt x="68567" y="127152"/>
                  </a:lnTo>
                  <a:lnTo>
                    <a:pt x="68567" y="43332"/>
                  </a:lnTo>
                  <a:lnTo>
                    <a:pt x="133108" y="43332"/>
                  </a:lnTo>
                  <a:lnTo>
                    <a:pt x="133108" y="2692"/>
                  </a:lnTo>
                  <a:lnTo>
                    <a:pt x="0" y="2692"/>
                  </a:lnTo>
                  <a:lnTo>
                    <a:pt x="0" y="43332"/>
                  </a:lnTo>
                  <a:lnTo>
                    <a:pt x="0" y="127152"/>
                  </a:lnTo>
                  <a:lnTo>
                    <a:pt x="0" y="165252"/>
                  </a:lnTo>
                  <a:lnTo>
                    <a:pt x="0" y="274472"/>
                  </a:lnTo>
                  <a:lnTo>
                    <a:pt x="0" y="313842"/>
                  </a:lnTo>
                  <a:lnTo>
                    <a:pt x="134010" y="313842"/>
                  </a:lnTo>
                  <a:lnTo>
                    <a:pt x="134010" y="274472"/>
                  </a:lnTo>
                  <a:close/>
                </a:path>
                <a:path w="609600" h="317500">
                  <a:moveTo>
                    <a:pt x="279196" y="274231"/>
                  </a:moveTo>
                  <a:lnTo>
                    <a:pt x="213753" y="274231"/>
                  </a:lnTo>
                  <a:lnTo>
                    <a:pt x="213753" y="165011"/>
                  </a:lnTo>
                  <a:lnTo>
                    <a:pt x="272072" y="165011"/>
                  </a:lnTo>
                  <a:lnTo>
                    <a:pt x="272072" y="126911"/>
                  </a:lnTo>
                  <a:lnTo>
                    <a:pt x="213753" y="126911"/>
                  </a:lnTo>
                  <a:lnTo>
                    <a:pt x="213753" y="43091"/>
                  </a:lnTo>
                  <a:lnTo>
                    <a:pt x="278307" y="43091"/>
                  </a:lnTo>
                  <a:lnTo>
                    <a:pt x="278307" y="2451"/>
                  </a:lnTo>
                  <a:lnTo>
                    <a:pt x="145199" y="2451"/>
                  </a:lnTo>
                  <a:lnTo>
                    <a:pt x="145199" y="43091"/>
                  </a:lnTo>
                  <a:lnTo>
                    <a:pt x="145199" y="126911"/>
                  </a:lnTo>
                  <a:lnTo>
                    <a:pt x="145199" y="165011"/>
                  </a:lnTo>
                  <a:lnTo>
                    <a:pt x="145199" y="274231"/>
                  </a:lnTo>
                  <a:lnTo>
                    <a:pt x="145199" y="314871"/>
                  </a:lnTo>
                  <a:lnTo>
                    <a:pt x="279196" y="314871"/>
                  </a:lnTo>
                  <a:lnTo>
                    <a:pt x="279196" y="274231"/>
                  </a:lnTo>
                  <a:close/>
                </a:path>
                <a:path w="609600" h="317500">
                  <a:moveTo>
                    <a:pt x="446659" y="57873"/>
                  </a:moveTo>
                  <a:lnTo>
                    <a:pt x="445731" y="47193"/>
                  </a:lnTo>
                  <a:lnTo>
                    <a:pt x="445338" y="42595"/>
                  </a:lnTo>
                  <a:lnTo>
                    <a:pt x="441375" y="30111"/>
                  </a:lnTo>
                  <a:lnTo>
                    <a:pt x="399630" y="5346"/>
                  </a:lnTo>
                  <a:lnTo>
                    <a:pt x="379882" y="3276"/>
                  </a:lnTo>
                  <a:lnTo>
                    <a:pt x="379882" y="63665"/>
                  </a:lnTo>
                  <a:lnTo>
                    <a:pt x="379882" y="138455"/>
                  </a:lnTo>
                  <a:lnTo>
                    <a:pt x="378460" y="145732"/>
                  </a:lnTo>
                  <a:lnTo>
                    <a:pt x="374205" y="150863"/>
                  </a:lnTo>
                  <a:lnTo>
                    <a:pt x="367106" y="153911"/>
                  </a:lnTo>
                  <a:lnTo>
                    <a:pt x="357174" y="154914"/>
                  </a:lnTo>
                  <a:lnTo>
                    <a:pt x="357174" y="47193"/>
                  </a:lnTo>
                  <a:lnTo>
                    <a:pt x="367106" y="48209"/>
                  </a:lnTo>
                  <a:lnTo>
                    <a:pt x="374205" y="51257"/>
                  </a:lnTo>
                  <a:lnTo>
                    <a:pt x="378460" y="56400"/>
                  </a:lnTo>
                  <a:lnTo>
                    <a:pt x="379882" y="63665"/>
                  </a:lnTo>
                  <a:lnTo>
                    <a:pt x="379882" y="3276"/>
                  </a:lnTo>
                  <a:lnTo>
                    <a:pt x="362521" y="2679"/>
                  </a:lnTo>
                  <a:lnTo>
                    <a:pt x="290398" y="2679"/>
                  </a:lnTo>
                  <a:lnTo>
                    <a:pt x="290398" y="314286"/>
                  </a:lnTo>
                  <a:lnTo>
                    <a:pt x="357174" y="314286"/>
                  </a:lnTo>
                  <a:lnTo>
                    <a:pt x="357174" y="199440"/>
                  </a:lnTo>
                  <a:lnTo>
                    <a:pt x="382536" y="198945"/>
                  </a:lnTo>
                  <a:lnTo>
                    <a:pt x="429742" y="187426"/>
                  </a:lnTo>
                  <a:lnTo>
                    <a:pt x="445846" y="154914"/>
                  </a:lnTo>
                  <a:lnTo>
                    <a:pt x="446544" y="145732"/>
                  </a:lnTo>
                  <a:lnTo>
                    <a:pt x="446659" y="57873"/>
                  </a:lnTo>
                  <a:close/>
                </a:path>
                <a:path w="609600" h="317500">
                  <a:moveTo>
                    <a:pt x="609104" y="55206"/>
                  </a:moveTo>
                  <a:lnTo>
                    <a:pt x="604672" y="31000"/>
                  </a:lnTo>
                  <a:lnTo>
                    <a:pt x="591350" y="13754"/>
                  </a:lnTo>
                  <a:lnTo>
                    <a:pt x="569099" y="3441"/>
                  </a:lnTo>
                  <a:lnTo>
                    <a:pt x="537883" y="0"/>
                  </a:lnTo>
                  <a:lnTo>
                    <a:pt x="503135" y="3771"/>
                  </a:lnTo>
                  <a:lnTo>
                    <a:pt x="478383" y="15087"/>
                  </a:lnTo>
                  <a:lnTo>
                    <a:pt x="463562" y="33997"/>
                  </a:lnTo>
                  <a:lnTo>
                    <a:pt x="458635" y="60540"/>
                  </a:lnTo>
                  <a:lnTo>
                    <a:pt x="458635" y="260870"/>
                  </a:lnTo>
                  <a:lnTo>
                    <a:pt x="463562" y="285419"/>
                  </a:lnTo>
                  <a:lnTo>
                    <a:pt x="478383" y="302945"/>
                  </a:lnTo>
                  <a:lnTo>
                    <a:pt x="503135" y="313461"/>
                  </a:lnTo>
                  <a:lnTo>
                    <a:pt x="537883" y="316966"/>
                  </a:lnTo>
                  <a:lnTo>
                    <a:pt x="551230" y="316141"/>
                  </a:lnTo>
                  <a:lnTo>
                    <a:pt x="587298" y="303606"/>
                  </a:lnTo>
                  <a:lnTo>
                    <a:pt x="609104" y="267995"/>
                  </a:lnTo>
                  <a:lnTo>
                    <a:pt x="609104" y="188760"/>
                  </a:lnTo>
                  <a:lnTo>
                    <a:pt x="546785" y="188760"/>
                  </a:lnTo>
                  <a:lnTo>
                    <a:pt x="546785" y="270649"/>
                  </a:lnTo>
                  <a:lnTo>
                    <a:pt x="543674" y="273329"/>
                  </a:lnTo>
                  <a:lnTo>
                    <a:pt x="530758" y="273329"/>
                  </a:lnTo>
                  <a:lnTo>
                    <a:pt x="527189" y="270649"/>
                  </a:lnTo>
                  <a:lnTo>
                    <a:pt x="527189" y="45415"/>
                  </a:lnTo>
                  <a:lnTo>
                    <a:pt x="530758" y="42748"/>
                  </a:lnTo>
                  <a:lnTo>
                    <a:pt x="543674" y="42748"/>
                  </a:lnTo>
                  <a:lnTo>
                    <a:pt x="546785" y="45415"/>
                  </a:lnTo>
                  <a:lnTo>
                    <a:pt x="546785" y="111747"/>
                  </a:lnTo>
                  <a:lnTo>
                    <a:pt x="609104" y="111747"/>
                  </a:lnTo>
                  <a:lnTo>
                    <a:pt x="609104" y="55206"/>
                  </a:lnTo>
                  <a:close/>
                </a:path>
              </a:pathLst>
            </a:custGeom>
            <a:solidFill>
              <a:srgbClr val="1283c6"/>
            </a:solidFill>
            <a:ln w="0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0" rIns="0" tIns="0" bIns="0" anchor="t">
              <a:noAutofit/>
            </a:bodyPr>
            <a:p>
              <a:pPr>
                <a:lnSpc>
                  <a:spcPct val="100000"/>
                </a:lnSpc>
              </a:pPr>
              <a:endParaRPr b="0" lang="en-US" sz="1800" spc="-1" strike="noStrike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7" name="Graphic 14"/>
            <p:cNvSpPr/>
            <p:nvPr/>
          </p:nvSpPr>
          <p:spPr>
            <a:xfrm>
              <a:off x="5939640" y="626040"/>
              <a:ext cx="739800" cy="384120"/>
            </a:xfrm>
            <a:custGeom>
              <a:avLst/>
              <a:gdLst>
                <a:gd name="textAreaLeft" fmla="*/ 0 w 739800"/>
                <a:gd name="textAreaRight" fmla="*/ 740160 w 739800"/>
                <a:gd name="textAreaTop" fmla="*/ 0 h 384120"/>
                <a:gd name="textAreaBottom" fmla="*/ 384480 h 384120"/>
              </a:gdLst>
              <a:ahLst/>
              <a:rect l="textAreaLeft" t="textAreaTop" r="textAreaRight" b="textAreaBottom"/>
              <a:pathLst>
                <a:path w="707390" h="311785">
                  <a:moveTo>
                    <a:pt x="68554" y="0"/>
                  </a:moveTo>
                  <a:lnTo>
                    <a:pt x="0" y="0"/>
                  </a:lnTo>
                  <a:lnTo>
                    <a:pt x="0" y="311607"/>
                  </a:lnTo>
                  <a:lnTo>
                    <a:pt x="68554" y="311607"/>
                  </a:lnTo>
                  <a:lnTo>
                    <a:pt x="68554" y="0"/>
                  </a:lnTo>
                  <a:close/>
                </a:path>
                <a:path w="707390" h="311785">
                  <a:moveTo>
                    <a:pt x="256463" y="0"/>
                  </a:moveTo>
                  <a:lnTo>
                    <a:pt x="199491" y="0"/>
                  </a:lnTo>
                  <a:lnTo>
                    <a:pt x="199491" y="142011"/>
                  </a:lnTo>
                  <a:lnTo>
                    <a:pt x="159867" y="0"/>
                  </a:lnTo>
                  <a:lnTo>
                    <a:pt x="81965" y="0"/>
                  </a:lnTo>
                  <a:lnTo>
                    <a:pt x="81965" y="311607"/>
                  </a:lnTo>
                  <a:lnTo>
                    <a:pt x="138938" y="311607"/>
                  </a:lnTo>
                  <a:lnTo>
                    <a:pt x="138938" y="145567"/>
                  </a:lnTo>
                  <a:lnTo>
                    <a:pt x="186131" y="311607"/>
                  </a:lnTo>
                  <a:lnTo>
                    <a:pt x="256463" y="311607"/>
                  </a:lnTo>
                  <a:lnTo>
                    <a:pt x="256463" y="0"/>
                  </a:lnTo>
                  <a:close/>
                </a:path>
                <a:path w="707390" h="311785">
                  <a:moveTo>
                    <a:pt x="426859" y="61442"/>
                  </a:moveTo>
                  <a:lnTo>
                    <a:pt x="425526" y="46824"/>
                  </a:lnTo>
                  <a:lnTo>
                    <a:pt x="423341" y="40068"/>
                  </a:lnTo>
                  <a:lnTo>
                    <a:pt x="421474" y="34290"/>
                  </a:lnTo>
                  <a:lnTo>
                    <a:pt x="381850" y="3733"/>
                  </a:lnTo>
                  <a:lnTo>
                    <a:pt x="358305" y="190"/>
                  </a:lnTo>
                  <a:lnTo>
                    <a:pt x="358305" y="56540"/>
                  </a:lnTo>
                  <a:lnTo>
                    <a:pt x="358305" y="255079"/>
                  </a:lnTo>
                  <a:lnTo>
                    <a:pt x="357060" y="262356"/>
                  </a:lnTo>
                  <a:lnTo>
                    <a:pt x="353364" y="267487"/>
                  </a:lnTo>
                  <a:lnTo>
                    <a:pt x="347230" y="270548"/>
                  </a:lnTo>
                  <a:lnTo>
                    <a:pt x="338721" y="271551"/>
                  </a:lnTo>
                  <a:lnTo>
                    <a:pt x="338721" y="40068"/>
                  </a:lnTo>
                  <a:lnTo>
                    <a:pt x="347230" y="41084"/>
                  </a:lnTo>
                  <a:lnTo>
                    <a:pt x="353364" y="44132"/>
                  </a:lnTo>
                  <a:lnTo>
                    <a:pt x="357060" y="49276"/>
                  </a:lnTo>
                  <a:lnTo>
                    <a:pt x="358305" y="56540"/>
                  </a:lnTo>
                  <a:lnTo>
                    <a:pt x="358305" y="190"/>
                  </a:lnTo>
                  <a:lnTo>
                    <a:pt x="355638" y="0"/>
                  </a:lnTo>
                  <a:lnTo>
                    <a:pt x="270167" y="0"/>
                  </a:lnTo>
                  <a:lnTo>
                    <a:pt x="270167" y="311607"/>
                  </a:lnTo>
                  <a:lnTo>
                    <a:pt x="356095" y="311607"/>
                  </a:lnTo>
                  <a:lnTo>
                    <a:pt x="395719" y="302590"/>
                  </a:lnTo>
                  <a:lnTo>
                    <a:pt x="423164" y="271551"/>
                  </a:lnTo>
                  <a:lnTo>
                    <a:pt x="425602" y="263791"/>
                  </a:lnTo>
                  <a:lnTo>
                    <a:pt x="426859" y="250190"/>
                  </a:lnTo>
                  <a:lnTo>
                    <a:pt x="426859" y="61442"/>
                  </a:lnTo>
                  <a:close/>
                </a:path>
                <a:path w="707390" h="311785">
                  <a:moveTo>
                    <a:pt x="508723" y="0"/>
                  </a:moveTo>
                  <a:lnTo>
                    <a:pt x="440169" y="0"/>
                  </a:lnTo>
                  <a:lnTo>
                    <a:pt x="440169" y="311607"/>
                  </a:lnTo>
                  <a:lnTo>
                    <a:pt x="508723" y="311607"/>
                  </a:lnTo>
                  <a:lnTo>
                    <a:pt x="508723" y="0"/>
                  </a:lnTo>
                  <a:close/>
                </a:path>
                <a:path w="707390" h="311785">
                  <a:moveTo>
                    <a:pt x="707313" y="311607"/>
                  </a:moveTo>
                  <a:lnTo>
                    <a:pt x="693559" y="227926"/>
                  </a:lnTo>
                  <a:lnTo>
                    <a:pt x="686473" y="184746"/>
                  </a:lnTo>
                  <a:lnTo>
                    <a:pt x="671182" y="91706"/>
                  </a:lnTo>
                  <a:lnTo>
                    <a:pt x="656120" y="0"/>
                  </a:lnTo>
                  <a:lnTo>
                    <a:pt x="622287" y="0"/>
                  </a:lnTo>
                  <a:lnTo>
                    <a:pt x="622287" y="184746"/>
                  </a:lnTo>
                  <a:lnTo>
                    <a:pt x="603148" y="184746"/>
                  </a:lnTo>
                  <a:lnTo>
                    <a:pt x="612495" y="91706"/>
                  </a:lnTo>
                  <a:lnTo>
                    <a:pt x="622287" y="184746"/>
                  </a:lnTo>
                  <a:lnTo>
                    <a:pt x="622287" y="0"/>
                  </a:lnTo>
                  <a:lnTo>
                    <a:pt x="568871" y="0"/>
                  </a:lnTo>
                  <a:lnTo>
                    <a:pt x="517677" y="311607"/>
                  </a:lnTo>
                  <a:lnTo>
                    <a:pt x="585787" y="311607"/>
                  </a:lnTo>
                  <a:lnTo>
                    <a:pt x="597369" y="227926"/>
                  </a:lnTo>
                  <a:lnTo>
                    <a:pt x="627634" y="227926"/>
                  </a:lnTo>
                  <a:lnTo>
                    <a:pt x="639203" y="311607"/>
                  </a:lnTo>
                  <a:lnTo>
                    <a:pt x="707313" y="311607"/>
                  </a:lnTo>
                  <a:close/>
                </a:path>
              </a:pathLst>
            </a:custGeom>
            <a:solidFill>
              <a:srgbClr val="818487"/>
            </a:solidFill>
            <a:ln w="0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0" rIns="0" tIns="0" bIns="0" anchor="t">
              <a:noAutofit/>
            </a:bodyPr>
            <a:p>
              <a:pPr>
                <a:lnSpc>
                  <a:spcPct val="100000"/>
                </a:lnSpc>
              </a:pPr>
              <a:endParaRPr b="0" lang="en-US" sz="1800" spc="-1" strike="noStrike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8" name="Graphic 15"/>
            <p:cNvSpPr/>
            <p:nvPr/>
          </p:nvSpPr>
          <p:spPr>
            <a:xfrm>
              <a:off x="5287680" y="1065240"/>
              <a:ext cx="1392480" cy="61560"/>
            </a:xfrm>
            <a:custGeom>
              <a:avLst/>
              <a:gdLst>
                <a:gd name="textAreaLeft" fmla="*/ 0 w 1392480"/>
                <a:gd name="textAreaRight" fmla="*/ 1392840 w 1392480"/>
                <a:gd name="textAreaTop" fmla="*/ 0 h 61560"/>
                <a:gd name="textAreaBottom" fmla="*/ 61920 h 61560"/>
              </a:gdLst>
              <a:ahLst/>
              <a:rect l="textAreaLeft" t="textAreaTop" r="textAreaRight" b="textAreaBottom"/>
              <a:pathLst>
                <a:path w="1330960" h="50165">
                  <a:moveTo>
                    <a:pt x="26568" y="42621"/>
                  </a:moveTo>
                  <a:lnTo>
                    <a:pt x="7683" y="42621"/>
                  </a:lnTo>
                  <a:lnTo>
                    <a:pt x="7683" y="27241"/>
                  </a:lnTo>
                  <a:lnTo>
                    <a:pt x="24955" y="27241"/>
                  </a:lnTo>
                  <a:lnTo>
                    <a:pt x="24955" y="20764"/>
                  </a:lnTo>
                  <a:lnTo>
                    <a:pt x="7683" y="20764"/>
                  </a:lnTo>
                  <a:lnTo>
                    <a:pt x="7683" y="7416"/>
                  </a:lnTo>
                  <a:lnTo>
                    <a:pt x="26022" y="7416"/>
                  </a:lnTo>
                  <a:lnTo>
                    <a:pt x="26022" y="939"/>
                  </a:lnTo>
                  <a:lnTo>
                    <a:pt x="0" y="939"/>
                  </a:lnTo>
                  <a:lnTo>
                    <a:pt x="0" y="49085"/>
                  </a:lnTo>
                  <a:lnTo>
                    <a:pt x="26568" y="49085"/>
                  </a:lnTo>
                  <a:lnTo>
                    <a:pt x="26568" y="42621"/>
                  </a:lnTo>
                  <a:close/>
                </a:path>
                <a:path w="1330960" h="50165">
                  <a:moveTo>
                    <a:pt x="94132" y="939"/>
                  </a:moveTo>
                  <a:lnTo>
                    <a:pt x="86855" y="939"/>
                  </a:lnTo>
                  <a:lnTo>
                    <a:pt x="86855" y="36817"/>
                  </a:lnTo>
                  <a:lnTo>
                    <a:pt x="86715" y="36817"/>
                  </a:lnTo>
                  <a:lnTo>
                    <a:pt x="72758" y="939"/>
                  </a:lnTo>
                  <a:lnTo>
                    <a:pt x="63385" y="939"/>
                  </a:lnTo>
                  <a:lnTo>
                    <a:pt x="63385" y="49085"/>
                  </a:lnTo>
                  <a:lnTo>
                    <a:pt x="70675" y="49085"/>
                  </a:lnTo>
                  <a:lnTo>
                    <a:pt x="70675" y="12268"/>
                  </a:lnTo>
                  <a:lnTo>
                    <a:pt x="70802" y="12268"/>
                  </a:lnTo>
                  <a:lnTo>
                    <a:pt x="84759" y="49085"/>
                  </a:lnTo>
                  <a:lnTo>
                    <a:pt x="94132" y="49085"/>
                  </a:lnTo>
                  <a:lnTo>
                    <a:pt x="94132" y="939"/>
                  </a:lnTo>
                  <a:close/>
                </a:path>
                <a:path w="1330960" h="50165">
                  <a:moveTo>
                    <a:pt x="162636" y="23736"/>
                  </a:moveTo>
                  <a:lnTo>
                    <a:pt x="147256" y="23736"/>
                  </a:lnTo>
                  <a:lnTo>
                    <a:pt x="147256" y="29527"/>
                  </a:lnTo>
                  <a:lnTo>
                    <a:pt x="155346" y="29527"/>
                  </a:lnTo>
                  <a:lnTo>
                    <a:pt x="155346" y="40055"/>
                  </a:lnTo>
                  <a:lnTo>
                    <a:pt x="153187" y="44310"/>
                  </a:lnTo>
                  <a:lnTo>
                    <a:pt x="142125" y="44234"/>
                  </a:lnTo>
                  <a:lnTo>
                    <a:pt x="139573" y="40322"/>
                  </a:lnTo>
                  <a:lnTo>
                    <a:pt x="139573" y="9448"/>
                  </a:lnTo>
                  <a:lnTo>
                    <a:pt x="142468" y="5791"/>
                  </a:lnTo>
                  <a:lnTo>
                    <a:pt x="153187" y="5791"/>
                  </a:lnTo>
                  <a:lnTo>
                    <a:pt x="154673" y="10058"/>
                  </a:lnTo>
                  <a:lnTo>
                    <a:pt x="154673" y="14757"/>
                  </a:lnTo>
                  <a:lnTo>
                    <a:pt x="161963" y="14757"/>
                  </a:lnTo>
                  <a:lnTo>
                    <a:pt x="161963" y="9499"/>
                  </a:lnTo>
                  <a:lnTo>
                    <a:pt x="159931" y="0"/>
                  </a:lnTo>
                  <a:lnTo>
                    <a:pt x="147853" y="0"/>
                  </a:lnTo>
                  <a:lnTo>
                    <a:pt x="140677" y="1485"/>
                  </a:lnTo>
                  <a:lnTo>
                    <a:pt x="135699" y="6057"/>
                  </a:lnTo>
                  <a:lnTo>
                    <a:pt x="132816" y="13855"/>
                  </a:lnTo>
                  <a:lnTo>
                    <a:pt x="131876" y="25006"/>
                  </a:lnTo>
                  <a:lnTo>
                    <a:pt x="132638" y="36182"/>
                  </a:lnTo>
                  <a:lnTo>
                    <a:pt x="135077" y="43980"/>
                  </a:lnTo>
                  <a:lnTo>
                    <a:pt x="139509" y="48552"/>
                  </a:lnTo>
                  <a:lnTo>
                    <a:pt x="146177" y="50050"/>
                  </a:lnTo>
                  <a:lnTo>
                    <a:pt x="151841" y="50050"/>
                  </a:lnTo>
                  <a:lnTo>
                    <a:pt x="154597" y="47929"/>
                  </a:lnTo>
                  <a:lnTo>
                    <a:pt x="156705" y="43497"/>
                  </a:lnTo>
                  <a:lnTo>
                    <a:pt x="156832" y="43497"/>
                  </a:lnTo>
                  <a:lnTo>
                    <a:pt x="156832" y="49085"/>
                  </a:lnTo>
                  <a:lnTo>
                    <a:pt x="162636" y="49085"/>
                  </a:lnTo>
                  <a:lnTo>
                    <a:pt x="162636" y="23736"/>
                  </a:lnTo>
                  <a:close/>
                </a:path>
                <a:path w="1330960" h="50165">
                  <a:moveTo>
                    <a:pt x="207556" y="939"/>
                  </a:moveTo>
                  <a:lnTo>
                    <a:pt x="199872" y="939"/>
                  </a:lnTo>
                  <a:lnTo>
                    <a:pt x="199872" y="49072"/>
                  </a:lnTo>
                  <a:lnTo>
                    <a:pt x="207556" y="49072"/>
                  </a:lnTo>
                  <a:lnTo>
                    <a:pt x="207556" y="939"/>
                  </a:lnTo>
                  <a:close/>
                </a:path>
                <a:path w="1330960" h="50165">
                  <a:moveTo>
                    <a:pt x="276872" y="939"/>
                  </a:moveTo>
                  <a:lnTo>
                    <a:pt x="269582" y="939"/>
                  </a:lnTo>
                  <a:lnTo>
                    <a:pt x="269582" y="36817"/>
                  </a:lnTo>
                  <a:lnTo>
                    <a:pt x="269455" y="36817"/>
                  </a:lnTo>
                  <a:lnTo>
                    <a:pt x="255498" y="939"/>
                  </a:lnTo>
                  <a:lnTo>
                    <a:pt x="246126" y="939"/>
                  </a:lnTo>
                  <a:lnTo>
                    <a:pt x="246126" y="49085"/>
                  </a:lnTo>
                  <a:lnTo>
                    <a:pt x="253403" y="49085"/>
                  </a:lnTo>
                  <a:lnTo>
                    <a:pt x="253403" y="12268"/>
                  </a:lnTo>
                  <a:lnTo>
                    <a:pt x="253555" y="12268"/>
                  </a:lnTo>
                  <a:lnTo>
                    <a:pt x="267500" y="49085"/>
                  </a:lnTo>
                  <a:lnTo>
                    <a:pt x="276872" y="49085"/>
                  </a:lnTo>
                  <a:lnTo>
                    <a:pt x="276872" y="939"/>
                  </a:lnTo>
                  <a:close/>
                </a:path>
                <a:path w="1330960" h="50165">
                  <a:moveTo>
                    <a:pt x="342328" y="42621"/>
                  </a:moveTo>
                  <a:lnTo>
                    <a:pt x="323456" y="42621"/>
                  </a:lnTo>
                  <a:lnTo>
                    <a:pt x="323456" y="27241"/>
                  </a:lnTo>
                  <a:lnTo>
                    <a:pt x="340715" y="27241"/>
                  </a:lnTo>
                  <a:lnTo>
                    <a:pt x="340715" y="20764"/>
                  </a:lnTo>
                  <a:lnTo>
                    <a:pt x="323456" y="20764"/>
                  </a:lnTo>
                  <a:lnTo>
                    <a:pt x="323456" y="7416"/>
                  </a:lnTo>
                  <a:lnTo>
                    <a:pt x="341795" y="7416"/>
                  </a:lnTo>
                  <a:lnTo>
                    <a:pt x="341795" y="939"/>
                  </a:lnTo>
                  <a:lnTo>
                    <a:pt x="315772" y="939"/>
                  </a:lnTo>
                  <a:lnTo>
                    <a:pt x="315772" y="49085"/>
                  </a:lnTo>
                  <a:lnTo>
                    <a:pt x="342328" y="49085"/>
                  </a:lnTo>
                  <a:lnTo>
                    <a:pt x="342328" y="42621"/>
                  </a:lnTo>
                  <a:close/>
                </a:path>
                <a:path w="1330960" h="50165">
                  <a:moveTo>
                    <a:pt x="405714" y="42621"/>
                  </a:moveTo>
                  <a:lnTo>
                    <a:pt x="386854" y="42621"/>
                  </a:lnTo>
                  <a:lnTo>
                    <a:pt x="386854" y="27241"/>
                  </a:lnTo>
                  <a:lnTo>
                    <a:pt x="404114" y="27241"/>
                  </a:lnTo>
                  <a:lnTo>
                    <a:pt x="404114" y="20764"/>
                  </a:lnTo>
                  <a:lnTo>
                    <a:pt x="386854" y="20764"/>
                  </a:lnTo>
                  <a:lnTo>
                    <a:pt x="386854" y="7416"/>
                  </a:lnTo>
                  <a:lnTo>
                    <a:pt x="405180" y="7416"/>
                  </a:lnTo>
                  <a:lnTo>
                    <a:pt x="405180" y="939"/>
                  </a:lnTo>
                  <a:lnTo>
                    <a:pt x="379158" y="939"/>
                  </a:lnTo>
                  <a:lnTo>
                    <a:pt x="379158" y="49085"/>
                  </a:lnTo>
                  <a:lnTo>
                    <a:pt x="405714" y="49085"/>
                  </a:lnTo>
                  <a:lnTo>
                    <a:pt x="405714" y="42621"/>
                  </a:lnTo>
                  <a:close/>
                </a:path>
                <a:path w="1330960" h="50165">
                  <a:moveTo>
                    <a:pt x="473849" y="49085"/>
                  </a:moveTo>
                  <a:lnTo>
                    <a:pt x="471284" y="35140"/>
                  </a:lnTo>
                  <a:lnTo>
                    <a:pt x="471004" y="28397"/>
                  </a:lnTo>
                  <a:lnTo>
                    <a:pt x="470814" y="28194"/>
                  </a:lnTo>
                  <a:lnTo>
                    <a:pt x="468503" y="25768"/>
                  </a:lnTo>
                  <a:lnTo>
                    <a:pt x="463727" y="25298"/>
                  </a:lnTo>
                  <a:lnTo>
                    <a:pt x="463727" y="25146"/>
                  </a:lnTo>
                  <a:lnTo>
                    <a:pt x="468985" y="24345"/>
                  </a:lnTo>
                  <a:lnTo>
                    <a:pt x="470115" y="22390"/>
                  </a:lnTo>
                  <a:lnTo>
                    <a:pt x="471754" y="19558"/>
                  </a:lnTo>
                  <a:lnTo>
                    <a:pt x="471754" y="6743"/>
                  </a:lnTo>
                  <a:lnTo>
                    <a:pt x="471754" y="4318"/>
                  </a:lnTo>
                  <a:lnTo>
                    <a:pt x="466293" y="952"/>
                  </a:lnTo>
                  <a:lnTo>
                    <a:pt x="464058" y="952"/>
                  </a:lnTo>
                  <a:lnTo>
                    <a:pt x="464058" y="9448"/>
                  </a:lnTo>
                  <a:lnTo>
                    <a:pt x="464058" y="19418"/>
                  </a:lnTo>
                  <a:lnTo>
                    <a:pt x="461302" y="22390"/>
                  </a:lnTo>
                  <a:lnTo>
                    <a:pt x="450240" y="22390"/>
                  </a:lnTo>
                  <a:lnTo>
                    <a:pt x="450240" y="6743"/>
                  </a:lnTo>
                  <a:lnTo>
                    <a:pt x="461835" y="6743"/>
                  </a:lnTo>
                  <a:lnTo>
                    <a:pt x="464058" y="9448"/>
                  </a:lnTo>
                  <a:lnTo>
                    <a:pt x="464058" y="952"/>
                  </a:lnTo>
                  <a:lnTo>
                    <a:pt x="442556" y="952"/>
                  </a:lnTo>
                  <a:lnTo>
                    <a:pt x="442556" y="49085"/>
                  </a:lnTo>
                  <a:lnTo>
                    <a:pt x="450240" y="49085"/>
                  </a:lnTo>
                  <a:lnTo>
                    <a:pt x="450240" y="28194"/>
                  </a:lnTo>
                  <a:lnTo>
                    <a:pt x="461772" y="28194"/>
                  </a:lnTo>
                  <a:lnTo>
                    <a:pt x="463384" y="30492"/>
                  </a:lnTo>
                  <a:lnTo>
                    <a:pt x="463511" y="35140"/>
                  </a:lnTo>
                  <a:lnTo>
                    <a:pt x="463600" y="42011"/>
                  </a:lnTo>
                  <a:lnTo>
                    <a:pt x="463867" y="44919"/>
                  </a:lnTo>
                  <a:lnTo>
                    <a:pt x="464058" y="46736"/>
                  </a:lnTo>
                  <a:lnTo>
                    <a:pt x="464400" y="48221"/>
                  </a:lnTo>
                  <a:lnTo>
                    <a:pt x="465137" y="49085"/>
                  </a:lnTo>
                  <a:lnTo>
                    <a:pt x="473849" y="49085"/>
                  </a:lnTo>
                  <a:close/>
                </a:path>
                <a:path w="1330960" h="50165">
                  <a:moveTo>
                    <a:pt x="517055" y="939"/>
                  </a:moveTo>
                  <a:lnTo>
                    <a:pt x="509371" y="939"/>
                  </a:lnTo>
                  <a:lnTo>
                    <a:pt x="509371" y="49072"/>
                  </a:lnTo>
                  <a:lnTo>
                    <a:pt x="517055" y="49072"/>
                  </a:lnTo>
                  <a:lnTo>
                    <a:pt x="517055" y="939"/>
                  </a:lnTo>
                  <a:close/>
                </a:path>
                <a:path w="1330960" h="50165">
                  <a:moveTo>
                    <a:pt x="586384" y="939"/>
                  </a:moveTo>
                  <a:lnTo>
                    <a:pt x="579107" y="939"/>
                  </a:lnTo>
                  <a:lnTo>
                    <a:pt x="579107" y="36817"/>
                  </a:lnTo>
                  <a:lnTo>
                    <a:pt x="578967" y="36817"/>
                  </a:lnTo>
                  <a:lnTo>
                    <a:pt x="565010" y="939"/>
                  </a:lnTo>
                  <a:lnTo>
                    <a:pt x="555637" y="939"/>
                  </a:lnTo>
                  <a:lnTo>
                    <a:pt x="555637" y="49085"/>
                  </a:lnTo>
                  <a:lnTo>
                    <a:pt x="562914" y="49085"/>
                  </a:lnTo>
                  <a:lnTo>
                    <a:pt x="562914" y="12268"/>
                  </a:lnTo>
                  <a:lnTo>
                    <a:pt x="563067" y="12268"/>
                  </a:lnTo>
                  <a:lnTo>
                    <a:pt x="577011" y="49085"/>
                  </a:lnTo>
                  <a:lnTo>
                    <a:pt x="586384" y="49085"/>
                  </a:lnTo>
                  <a:lnTo>
                    <a:pt x="586384" y="939"/>
                  </a:lnTo>
                  <a:close/>
                </a:path>
                <a:path w="1330960" h="50165">
                  <a:moveTo>
                    <a:pt x="654900" y="23736"/>
                  </a:moveTo>
                  <a:lnTo>
                    <a:pt x="639521" y="23736"/>
                  </a:lnTo>
                  <a:lnTo>
                    <a:pt x="639521" y="29527"/>
                  </a:lnTo>
                  <a:lnTo>
                    <a:pt x="647611" y="29527"/>
                  </a:lnTo>
                  <a:lnTo>
                    <a:pt x="647611" y="40055"/>
                  </a:lnTo>
                  <a:lnTo>
                    <a:pt x="645452" y="44310"/>
                  </a:lnTo>
                  <a:lnTo>
                    <a:pt x="634390" y="44234"/>
                  </a:lnTo>
                  <a:lnTo>
                    <a:pt x="631837" y="40322"/>
                  </a:lnTo>
                  <a:lnTo>
                    <a:pt x="631837" y="9448"/>
                  </a:lnTo>
                  <a:lnTo>
                    <a:pt x="634733" y="5791"/>
                  </a:lnTo>
                  <a:lnTo>
                    <a:pt x="645452" y="5791"/>
                  </a:lnTo>
                  <a:lnTo>
                    <a:pt x="646950" y="10058"/>
                  </a:lnTo>
                  <a:lnTo>
                    <a:pt x="646950" y="14757"/>
                  </a:lnTo>
                  <a:lnTo>
                    <a:pt x="654227" y="14757"/>
                  </a:lnTo>
                  <a:lnTo>
                    <a:pt x="654227" y="9499"/>
                  </a:lnTo>
                  <a:lnTo>
                    <a:pt x="652195" y="0"/>
                  </a:lnTo>
                  <a:lnTo>
                    <a:pt x="640130" y="0"/>
                  </a:lnTo>
                  <a:lnTo>
                    <a:pt x="632942" y="1485"/>
                  </a:lnTo>
                  <a:lnTo>
                    <a:pt x="627964" y="6057"/>
                  </a:lnTo>
                  <a:lnTo>
                    <a:pt x="625081" y="13855"/>
                  </a:lnTo>
                  <a:lnTo>
                    <a:pt x="624141" y="25006"/>
                  </a:lnTo>
                  <a:lnTo>
                    <a:pt x="624890" y="36182"/>
                  </a:lnTo>
                  <a:lnTo>
                    <a:pt x="627341" y="43980"/>
                  </a:lnTo>
                  <a:lnTo>
                    <a:pt x="631761" y="48552"/>
                  </a:lnTo>
                  <a:lnTo>
                    <a:pt x="638441" y="50050"/>
                  </a:lnTo>
                  <a:lnTo>
                    <a:pt x="644105" y="50050"/>
                  </a:lnTo>
                  <a:lnTo>
                    <a:pt x="646874" y="47929"/>
                  </a:lnTo>
                  <a:lnTo>
                    <a:pt x="648957" y="43497"/>
                  </a:lnTo>
                  <a:lnTo>
                    <a:pt x="649097" y="43497"/>
                  </a:lnTo>
                  <a:lnTo>
                    <a:pt x="649097" y="49085"/>
                  </a:lnTo>
                  <a:lnTo>
                    <a:pt x="654900" y="49085"/>
                  </a:lnTo>
                  <a:lnTo>
                    <a:pt x="654900" y="23736"/>
                  </a:lnTo>
                  <a:close/>
                </a:path>
                <a:path w="1330960" h="50165">
                  <a:moveTo>
                    <a:pt x="763930" y="939"/>
                  </a:moveTo>
                  <a:lnTo>
                    <a:pt x="733526" y="939"/>
                  </a:lnTo>
                  <a:lnTo>
                    <a:pt x="733526" y="7416"/>
                  </a:lnTo>
                  <a:lnTo>
                    <a:pt x="744982" y="7416"/>
                  </a:lnTo>
                  <a:lnTo>
                    <a:pt x="744982" y="49085"/>
                  </a:lnTo>
                  <a:lnTo>
                    <a:pt x="752678" y="49085"/>
                  </a:lnTo>
                  <a:lnTo>
                    <a:pt x="752678" y="7416"/>
                  </a:lnTo>
                  <a:lnTo>
                    <a:pt x="763930" y="7416"/>
                  </a:lnTo>
                  <a:lnTo>
                    <a:pt x="763930" y="939"/>
                  </a:lnTo>
                  <a:close/>
                </a:path>
                <a:path w="1330960" h="50165">
                  <a:moveTo>
                    <a:pt x="828802" y="939"/>
                  </a:moveTo>
                  <a:lnTo>
                    <a:pt x="821118" y="939"/>
                  </a:lnTo>
                  <a:lnTo>
                    <a:pt x="821118" y="20231"/>
                  </a:lnTo>
                  <a:lnTo>
                    <a:pt x="806945" y="20231"/>
                  </a:lnTo>
                  <a:lnTo>
                    <a:pt x="806945" y="939"/>
                  </a:lnTo>
                  <a:lnTo>
                    <a:pt x="799261" y="939"/>
                  </a:lnTo>
                  <a:lnTo>
                    <a:pt x="799261" y="49085"/>
                  </a:lnTo>
                  <a:lnTo>
                    <a:pt x="806945" y="49085"/>
                  </a:lnTo>
                  <a:lnTo>
                    <a:pt x="806945" y="26708"/>
                  </a:lnTo>
                  <a:lnTo>
                    <a:pt x="821118" y="26708"/>
                  </a:lnTo>
                  <a:lnTo>
                    <a:pt x="821118" y="49085"/>
                  </a:lnTo>
                  <a:lnTo>
                    <a:pt x="828802" y="49085"/>
                  </a:lnTo>
                  <a:lnTo>
                    <a:pt x="828802" y="939"/>
                  </a:lnTo>
                  <a:close/>
                </a:path>
                <a:path w="1330960" h="50165">
                  <a:moveTo>
                    <a:pt x="894295" y="42621"/>
                  </a:moveTo>
                  <a:lnTo>
                    <a:pt x="875398" y="42621"/>
                  </a:lnTo>
                  <a:lnTo>
                    <a:pt x="875398" y="27241"/>
                  </a:lnTo>
                  <a:lnTo>
                    <a:pt x="892670" y="27241"/>
                  </a:lnTo>
                  <a:lnTo>
                    <a:pt x="892670" y="20764"/>
                  </a:lnTo>
                  <a:lnTo>
                    <a:pt x="875398" y="20764"/>
                  </a:lnTo>
                  <a:lnTo>
                    <a:pt x="875398" y="7416"/>
                  </a:lnTo>
                  <a:lnTo>
                    <a:pt x="893749" y="7416"/>
                  </a:lnTo>
                  <a:lnTo>
                    <a:pt x="893749" y="939"/>
                  </a:lnTo>
                  <a:lnTo>
                    <a:pt x="867714" y="939"/>
                  </a:lnTo>
                  <a:lnTo>
                    <a:pt x="867714" y="49085"/>
                  </a:lnTo>
                  <a:lnTo>
                    <a:pt x="894295" y="49085"/>
                  </a:lnTo>
                  <a:lnTo>
                    <a:pt x="894295" y="42621"/>
                  </a:lnTo>
                  <a:close/>
                </a:path>
                <a:path w="1330960" h="50165">
                  <a:moveTo>
                    <a:pt x="1003909" y="939"/>
                  </a:moveTo>
                  <a:lnTo>
                    <a:pt x="978230" y="939"/>
                  </a:lnTo>
                  <a:lnTo>
                    <a:pt x="978230" y="49085"/>
                  </a:lnTo>
                  <a:lnTo>
                    <a:pt x="985913" y="49085"/>
                  </a:lnTo>
                  <a:lnTo>
                    <a:pt x="985913" y="27241"/>
                  </a:lnTo>
                  <a:lnTo>
                    <a:pt x="1002830" y="27241"/>
                  </a:lnTo>
                  <a:lnTo>
                    <a:pt x="1002830" y="20764"/>
                  </a:lnTo>
                  <a:lnTo>
                    <a:pt x="985913" y="20764"/>
                  </a:lnTo>
                  <a:lnTo>
                    <a:pt x="985913" y="7416"/>
                  </a:lnTo>
                  <a:lnTo>
                    <a:pt x="1003909" y="7416"/>
                  </a:lnTo>
                  <a:lnTo>
                    <a:pt x="1003909" y="939"/>
                  </a:lnTo>
                  <a:close/>
                </a:path>
                <a:path w="1330960" h="50165">
                  <a:moveTo>
                    <a:pt x="1069263" y="939"/>
                  </a:moveTo>
                  <a:lnTo>
                    <a:pt x="1061580" y="939"/>
                  </a:lnTo>
                  <a:lnTo>
                    <a:pt x="1061580" y="41541"/>
                  </a:lnTo>
                  <a:lnTo>
                    <a:pt x="1059154" y="44234"/>
                  </a:lnTo>
                  <a:lnTo>
                    <a:pt x="1049909" y="44234"/>
                  </a:lnTo>
                  <a:lnTo>
                    <a:pt x="1047496" y="41541"/>
                  </a:lnTo>
                  <a:lnTo>
                    <a:pt x="1047496" y="939"/>
                  </a:lnTo>
                  <a:lnTo>
                    <a:pt x="1039799" y="939"/>
                  </a:lnTo>
                  <a:lnTo>
                    <a:pt x="1039799" y="45974"/>
                  </a:lnTo>
                  <a:lnTo>
                    <a:pt x="1045324" y="50038"/>
                  </a:lnTo>
                  <a:lnTo>
                    <a:pt x="1063739" y="50038"/>
                  </a:lnTo>
                  <a:lnTo>
                    <a:pt x="1069263" y="45974"/>
                  </a:lnTo>
                  <a:lnTo>
                    <a:pt x="1069263" y="939"/>
                  </a:lnTo>
                  <a:close/>
                </a:path>
                <a:path w="1330960" h="50165">
                  <a:moveTo>
                    <a:pt x="1134414" y="939"/>
                  </a:moveTo>
                  <a:lnTo>
                    <a:pt x="1104011" y="939"/>
                  </a:lnTo>
                  <a:lnTo>
                    <a:pt x="1104011" y="7416"/>
                  </a:lnTo>
                  <a:lnTo>
                    <a:pt x="1115466" y="7416"/>
                  </a:lnTo>
                  <a:lnTo>
                    <a:pt x="1115466" y="49085"/>
                  </a:lnTo>
                  <a:lnTo>
                    <a:pt x="1123162" y="49085"/>
                  </a:lnTo>
                  <a:lnTo>
                    <a:pt x="1123162" y="7416"/>
                  </a:lnTo>
                  <a:lnTo>
                    <a:pt x="1134414" y="7416"/>
                  </a:lnTo>
                  <a:lnTo>
                    <a:pt x="1134414" y="939"/>
                  </a:lnTo>
                  <a:close/>
                </a:path>
                <a:path w="1330960" h="50165">
                  <a:moveTo>
                    <a:pt x="1198600" y="939"/>
                  </a:moveTo>
                  <a:lnTo>
                    <a:pt x="1190904" y="939"/>
                  </a:lnTo>
                  <a:lnTo>
                    <a:pt x="1190904" y="41541"/>
                  </a:lnTo>
                  <a:lnTo>
                    <a:pt x="1188478" y="44234"/>
                  </a:lnTo>
                  <a:lnTo>
                    <a:pt x="1179233" y="44234"/>
                  </a:lnTo>
                  <a:lnTo>
                    <a:pt x="1176820" y="41541"/>
                  </a:lnTo>
                  <a:lnTo>
                    <a:pt x="1176820" y="939"/>
                  </a:lnTo>
                  <a:lnTo>
                    <a:pt x="1169123" y="939"/>
                  </a:lnTo>
                  <a:lnTo>
                    <a:pt x="1169123" y="45974"/>
                  </a:lnTo>
                  <a:lnTo>
                    <a:pt x="1174648" y="50038"/>
                  </a:lnTo>
                  <a:lnTo>
                    <a:pt x="1193063" y="50038"/>
                  </a:lnTo>
                  <a:lnTo>
                    <a:pt x="1198600" y="45974"/>
                  </a:lnTo>
                  <a:lnTo>
                    <a:pt x="1198600" y="939"/>
                  </a:lnTo>
                  <a:close/>
                </a:path>
                <a:path w="1330960" h="50165">
                  <a:moveTo>
                    <a:pt x="1268196" y="49085"/>
                  </a:moveTo>
                  <a:lnTo>
                    <a:pt x="1265643" y="35140"/>
                  </a:lnTo>
                  <a:lnTo>
                    <a:pt x="1265364" y="28397"/>
                  </a:lnTo>
                  <a:lnTo>
                    <a:pt x="1265174" y="28194"/>
                  </a:lnTo>
                  <a:lnTo>
                    <a:pt x="1262862" y="25768"/>
                  </a:lnTo>
                  <a:lnTo>
                    <a:pt x="1258074" y="25298"/>
                  </a:lnTo>
                  <a:lnTo>
                    <a:pt x="1258087" y="25146"/>
                  </a:lnTo>
                  <a:lnTo>
                    <a:pt x="1263345" y="24345"/>
                  </a:lnTo>
                  <a:lnTo>
                    <a:pt x="1264475" y="22390"/>
                  </a:lnTo>
                  <a:lnTo>
                    <a:pt x="1266113" y="19558"/>
                  </a:lnTo>
                  <a:lnTo>
                    <a:pt x="1266113" y="6743"/>
                  </a:lnTo>
                  <a:lnTo>
                    <a:pt x="1266113" y="4318"/>
                  </a:lnTo>
                  <a:lnTo>
                    <a:pt x="1260652" y="952"/>
                  </a:lnTo>
                  <a:lnTo>
                    <a:pt x="1258417" y="952"/>
                  </a:lnTo>
                  <a:lnTo>
                    <a:pt x="1258417" y="9448"/>
                  </a:lnTo>
                  <a:lnTo>
                    <a:pt x="1258417" y="19418"/>
                  </a:lnTo>
                  <a:lnTo>
                    <a:pt x="1255661" y="22390"/>
                  </a:lnTo>
                  <a:lnTo>
                    <a:pt x="1244600" y="22390"/>
                  </a:lnTo>
                  <a:lnTo>
                    <a:pt x="1244600" y="6743"/>
                  </a:lnTo>
                  <a:lnTo>
                    <a:pt x="1256182" y="6743"/>
                  </a:lnTo>
                  <a:lnTo>
                    <a:pt x="1258417" y="9448"/>
                  </a:lnTo>
                  <a:lnTo>
                    <a:pt x="1258417" y="952"/>
                  </a:lnTo>
                  <a:lnTo>
                    <a:pt x="1236903" y="952"/>
                  </a:lnTo>
                  <a:lnTo>
                    <a:pt x="1236903" y="49085"/>
                  </a:lnTo>
                  <a:lnTo>
                    <a:pt x="1244600" y="49085"/>
                  </a:lnTo>
                  <a:lnTo>
                    <a:pt x="1244600" y="28194"/>
                  </a:lnTo>
                  <a:lnTo>
                    <a:pt x="1256118" y="28194"/>
                  </a:lnTo>
                  <a:lnTo>
                    <a:pt x="1257744" y="30492"/>
                  </a:lnTo>
                  <a:lnTo>
                    <a:pt x="1257871" y="35140"/>
                  </a:lnTo>
                  <a:lnTo>
                    <a:pt x="1257947" y="42011"/>
                  </a:lnTo>
                  <a:lnTo>
                    <a:pt x="1258227" y="44919"/>
                  </a:lnTo>
                  <a:lnTo>
                    <a:pt x="1258417" y="46736"/>
                  </a:lnTo>
                  <a:lnTo>
                    <a:pt x="1258760" y="48221"/>
                  </a:lnTo>
                  <a:lnTo>
                    <a:pt x="1259497" y="49085"/>
                  </a:lnTo>
                  <a:lnTo>
                    <a:pt x="1268196" y="49085"/>
                  </a:lnTo>
                  <a:close/>
                </a:path>
                <a:path w="1330960" h="50165">
                  <a:moveTo>
                    <a:pt x="1330629" y="42621"/>
                  </a:moveTo>
                  <a:lnTo>
                    <a:pt x="1311770" y="42621"/>
                  </a:lnTo>
                  <a:lnTo>
                    <a:pt x="1311770" y="27241"/>
                  </a:lnTo>
                  <a:lnTo>
                    <a:pt x="1329029" y="27241"/>
                  </a:lnTo>
                  <a:lnTo>
                    <a:pt x="1329029" y="20764"/>
                  </a:lnTo>
                  <a:lnTo>
                    <a:pt x="1311770" y="20764"/>
                  </a:lnTo>
                  <a:lnTo>
                    <a:pt x="1311770" y="7416"/>
                  </a:lnTo>
                  <a:lnTo>
                    <a:pt x="1330109" y="7416"/>
                  </a:lnTo>
                  <a:lnTo>
                    <a:pt x="1330109" y="939"/>
                  </a:lnTo>
                  <a:lnTo>
                    <a:pt x="1304074" y="939"/>
                  </a:lnTo>
                  <a:lnTo>
                    <a:pt x="1304074" y="49085"/>
                  </a:lnTo>
                  <a:lnTo>
                    <a:pt x="1330629" y="49085"/>
                  </a:lnTo>
                  <a:lnTo>
                    <a:pt x="1330629" y="4262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0" rIns="0" tIns="0" bIns="0" anchor="t">
              <a:noAutofit/>
            </a:bodyPr>
            <a:p>
              <a:pPr>
                <a:lnSpc>
                  <a:spcPct val="100000"/>
                </a:lnSpc>
              </a:pPr>
              <a:endParaRPr b="0" lang="en-US" sz="1800" spc="-1" strike="noStrike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14"/>
          <p:cNvCxnSpPr/>
          <p:nvPr/>
        </p:nvCxnSpPr>
        <p:spPr>
          <a:xfrm>
            <a:off x="324000" y="1306800"/>
            <a:ext cx="6210000" cy="360"/>
          </a:xfrm>
          <a:prstGeom prst="straightConnector1">
            <a:avLst/>
          </a:prstGeom>
          <a:ln w="19050">
            <a:solidFill>
              <a:srgbClr val="2edcc5"/>
            </a:solidFill>
          </a:ln>
        </p:spPr>
      </p:cxnSp>
      <p:sp>
        <p:nvSpPr>
          <p:cNvPr id="50" name="TextBox 15"/>
          <p:cNvSpPr/>
          <p:nvPr/>
        </p:nvSpPr>
        <p:spPr>
          <a:xfrm>
            <a:off x="130680" y="78120"/>
            <a:ext cx="1573920" cy="2721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</a:pPr>
            <a:r>
              <a:rPr b="0" lang="en-US" sz="1200" spc="-1" strike="noStrike">
                <a:solidFill>
                  <a:srgbClr val="000000"/>
                </a:solidFill>
                <a:latin typeface="Arial"/>
              </a:rPr>
              <a:t>Supported By</a:t>
            </a:r>
            <a:endParaRPr b="0" lang="en-US" sz="1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TextBox 16"/>
          <p:cNvSpPr/>
          <p:nvPr/>
        </p:nvSpPr>
        <p:spPr>
          <a:xfrm>
            <a:off x="5208120" y="85320"/>
            <a:ext cx="1741320" cy="2721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</a:pPr>
            <a:r>
              <a:rPr b="0" lang="en-US" sz="1200" spc="-1" strike="noStrike">
                <a:solidFill>
                  <a:srgbClr val="000000"/>
                </a:solidFill>
                <a:latin typeface="Arial"/>
              </a:rPr>
              <a:t>Coordinating Agency</a:t>
            </a:r>
            <a:endParaRPr b="0" lang="en-US" sz="1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Rectangle 2"/>
          <p:cNvSpPr/>
          <p:nvPr/>
        </p:nvSpPr>
        <p:spPr>
          <a:xfrm>
            <a:off x="714240" y="2130480"/>
            <a:ext cx="5076360" cy="311760"/>
          </a:xfrm>
          <a:prstGeom prst="rect">
            <a:avLst/>
          </a:prstGeom>
          <a:solidFill>
            <a:srgbClr val="004a91"/>
          </a:solidFill>
          <a:ln>
            <a:solidFill>
              <a:srgbClr val="1d315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</a:pPr>
            <a:r>
              <a:rPr b="1" lang="en-US" sz="1400" spc="-1" strike="noStrike">
                <a:solidFill>
                  <a:schemeClr val="lt1"/>
                </a:solidFill>
                <a:latin typeface="Arial"/>
              </a:rPr>
              <a:t>Thursday 4</a:t>
            </a:r>
            <a:r>
              <a:rPr b="1" lang="en-US" sz="1400" spc="-1" strike="noStrike" baseline="30000">
                <a:solidFill>
                  <a:schemeClr val="lt1"/>
                </a:solidFill>
                <a:latin typeface="Arial"/>
              </a:rPr>
              <a:t>th</a:t>
            </a:r>
            <a:r>
              <a:rPr b="1" lang="en-US" sz="1400" spc="-1" strike="noStrike">
                <a:solidFill>
                  <a:schemeClr val="lt1"/>
                </a:solidFill>
                <a:latin typeface="Arial"/>
              </a:rPr>
              <a:t> December 2025, Time: 1200 – 1250 hrs (IST)</a:t>
            </a:r>
            <a:endParaRPr b="0" lang="en-US" sz="1400" spc="-1" strike="noStrike">
              <a:solidFill>
                <a:srgbClr val="ffffff"/>
              </a:solidFill>
              <a:latin typeface="Arial"/>
            </a:endParaRPr>
          </a:p>
        </p:txBody>
      </p:sp>
      <p:sp>
        <p:nvSpPr>
          <p:cNvPr id="53" name="Arrow: Pentagon 18"/>
          <p:cNvSpPr/>
          <p:nvPr/>
        </p:nvSpPr>
        <p:spPr>
          <a:xfrm>
            <a:off x="0" y="2755440"/>
            <a:ext cx="3272400" cy="429480"/>
          </a:xfrm>
          <a:prstGeom prst="homePlate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</a:pPr>
            <a:r>
              <a:rPr b="1" lang="en-US" sz="1800" spc="-1" strike="noStrike">
                <a:solidFill>
                  <a:srgbClr val="004a91"/>
                </a:solidFill>
                <a:latin typeface="Arial"/>
              </a:rPr>
              <a:t>Objective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Arrow: Pentagon 19"/>
          <p:cNvSpPr/>
          <p:nvPr/>
        </p:nvSpPr>
        <p:spPr>
          <a:xfrm>
            <a:off x="0" y="3962160"/>
            <a:ext cx="3272400" cy="429480"/>
          </a:xfrm>
          <a:prstGeom prst="homePlate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</a:pPr>
            <a:r>
              <a:rPr b="1" lang="en-US" sz="1800" spc="-1" strike="noStrike">
                <a:solidFill>
                  <a:srgbClr val="004a91"/>
                </a:solidFill>
                <a:latin typeface="Arial"/>
              </a:rPr>
              <a:t>Flow of the Webinar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55" name="Straight Connector 22"/>
          <p:cNvCxnSpPr/>
          <p:nvPr/>
        </p:nvCxnSpPr>
        <p:spPr>
          <a:xfrm>
            <a:off x="0" y="3283200"/>
            <a:ext cx="3092400" cy="360"/>
          </a:xfrm>
          <a:prstGeom prst="straightConnector1">
            <a:avLst/>
          </a:prstGeom>
          <a:ln w="19050">
            <a:solidFill>
              <a:srgbClr val="2edcc5"/>
            </a:solidFill>
          </a:ln>
        </p:spPr>
      </p:cxnSp>
      <p:cxnSp>
        <p:nvCxnSpPr>
          <p:cNvPr id="56" name="Straight Connector 23"/>
          <p:cNvCxnSpPr/>
          <p:nvPr/>
        </p:nvCxnSpPr>
        <p:spPr>
          <a:xfrm>
            <a:off x="0" y="4525560"/>
            <a:ext cx="3092400" cy="360"/>
          </a:xfrm>
          <a:prstGeom prst="straightConnector1">
            <a:avLst/>
          </a:prstGeom>
          <a:ln w="19050">
            <a:solidFill>
              <a:srgbClr val="2edcc5"/>
            </a:solidFill>
          </a:ln>
        </p:spPr>
      </p:cxnSp>
      <p:sp>
        <p:nvSpPr>
          <p:cNvPr id="57" name="Rectangle 24"/>
          <p:cNvSpPr/>
          <p:nvPr/>
        </p:nvSpPr>
        <p:spPr>
          <a:xfrm>
            <a:off x="-11880" y="3410280"/>
            <a:ext cx="6679440" cy="7185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"/>
            </a:pPr>
            <a:r>
              <a:rPr b="0" lang="en-IN" sz="1400" spc="-1" strike="noStrike">
                <a:solidFill>
                  <a:srgbClr val="000000"/>
                </a:solidFill>
                <a:latin typeface="Arial"/>
                <a:ea typeface="Calibri"/>
              </a:rPr>
              <a:t>To increase international participation and engagement in Bharat Electricity Summit by targeting key stakeholders in the GCC region</a:t>
            </a:r>
            <a:endParaRPr b="0" lang="en-US" sz="14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endParaRPr b="0" lang="en-US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Rectangle 27"/>
          <p:cNvSpPr/>
          <p:nvPr/>
        </p:nvSpPr>
        <p:spPr>
          <a:xfrm>
            <a:off x="133200" y="4787280"/>
            <a:ext cx="1119240" cy="2642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</a:pPr>
            <a:r>
              <a:rPr b="1" lang="en-US" sz="1400" spc="-1" strike="noStrike">
                <a:solidFill>
                  <a:srgbClr val="000000"/>
                </a:solidFill>
                <a:latin typeface="Arial"/>
              </a:rPr>
              <a:t>Mode</a:t>
            </a:r>
            <a:endParaRPr b="0" lang="en-US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Rectangle 28"/>
          <p:cNvSpPr/>
          <p:nvPr/>
        </p:nvSpPr>
        <p:spPr>
          <a:xfrm>
            <a:off x="1446120" y="4812120"/>
            <a:ext cx="1791720" cy="264240"/>
          </a:xfrm>
          <a:prstGeom prst="rect">
            <a:avLst/>
          </a:prstGeom>
          <a:noFill/>
          <a:ln>
            <a:solidFill>
              <a:srgbClr val="004a9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</a:pPr>
            <a:r>
              <a:rPr b="1" i="1" lang="en-US" sz="1400" spc="-1" strike="noStrike">
                <a:solidFill>
                  <a:srgbClr val="000000"/>
                </a:solidFill>
                <a:latin typeface="Calibri"/>
              </a:rPr>
              <a:t>Online/ Virtual Meet</a:t>
            </a:r>
            <a:endParaRPr b="0" lang="en-US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Rectangle 29"/>
          <p:cNvSpPr/>
          <p:nvPr/>
        </p:nvSpPr>
        <p:spPr>
          <a:xfrm>
            <a:off x="133200" y="5187960"/>
            <a:ext cx="1119240" cy="2642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</a:pPr>
            <a:r>
              <a:rPr b="1" lang="en-US" sz="1400" spc="-1" strike="noStrike">
                <a:solidFill>
                  <a:srgbClr val="000000"/>
                </a:solidFill>
                <a:latin typeface="Arial"/>
              </a:rPr>
              <a:t>Region</a:t>
            </a:r>
            <a:endParaRPr b="0" lang="en-US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Rectangle 30"/>
          <p:cNvSpPr/>
          <p:nvPr/>
        </p:nvSpPr>
        <p:spPr>
          <a:xfrm>
            <a:off x="1446120" y="5187960"/>
            <a:ext cx="1791720" cy="308880"/>
          </a:xfrm>
          <a:prstGeom prst="rect">
            <a:avLst/>
          </a:prstGeom>
          <a:noFill/>
          <a:ln>
            <a:solidFill>
              <a:srgbClr val="004a9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</a:pPr>
            <a:r>
              <a:rPr b="1" i="1" lang="en-US" sz="1400" spc="-1" strike="noStrike">
                <a:solidFill>
                  <a:srgbClr val="000000"/>
                </a:solidFill>
                <a:latin typeface="Calibri"/>
              </a:rPr>
              <a:t>GCC</a:t>
            </a:r>
            <a:endParaRPr b="0" lang="en-US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Rectangle 32"/>
          <p:cNvSpPr/>
          <p:nvPr/>
        </p:nvSpPr>
        <p:spPr>
          <a:xfrm>
            <a:off x="3456000" y="4822560"/>
            <a:ext cx="1119240" cy="2642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</a:pPr>
            <a:r>
              <a:rPr b="1" lang="en-US" sz="1400" spc="-1" strike="noStrike">
                <a:solidFill>
                  <a:srgbClr val="000000"/>
                </a:solidFill>
                <a:latin typeface="Arial"/>
              </a:rPr>
              <a:t>Time</a:t>
            </a:r>
            <a:endParaRPr b="0" lang="en-US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Rectangle 34"/>
          <p:cNvSpPr/>
          <p:nvPr/>
        </p:nvSpPr>
        <p:spPr>
          <a:xfrm>
            <a:off x="4769280" y="4811760"/>
            <a:ext cx="1791720" cy="264240"/>
          </a:xfrm>
          <a:prstGeom prst="rect">
            <a:avLst/>
          </a:prstGeom>
          <a:noFill/>
          <a:ln>
            <a:solidFill>
              <a:srgbClr val="004a9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</a:pPr>
            <a:r>
              <a:rPr b="1" i="1" lang="en-US" sz="1200" spc="-1" strike="noStrike">
                <a:solidFill>
                  <a:srgbClr val="000000"/>
                </a:solidFill>
                <a:latin typeface="Calibri"/>
              </a:rPr>
              <a:t>1200 hrs – 1250 hrs (IST)</a:t>
            </a:r>
            <a:endParaRPr b="0" lang="en-US" sz="1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Rectangle 35"/>
          <p:cNvSpPr/>
          <p:nvPr/>
        </p:nvSpPr>
        <p:spPr>
          <a:xfrm>
            <a:off x="3456000" y="5187600"/>
            <a:ext cx="1119240" cy="2642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</a:pPr>
            <a:r>
              <a:rPr b="1" lang="en-US" sz="1400" spc="-1" strike="noStrike">
                <a:solidFill>
                  <a:srgbClr val="000000"/>
                </a:solidFill>
                <a:latin typeface="Arial"/>
              </a:rPr>
              <a:t>Duration</a:t>
            </a:r>
            <a:endParaRPr b="0" lang="en-US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Rectangle 36"/>
          <p:cNvSpPr/>
          <p:nvPr/>
        </p:nvSpPr>
        <p:spPr>
          <a:xfrm>
            <a:off x="4769280" y="5187600"/>
            <a:ext cx="1791720" cy="264240"/>
          </a:xfrm>
          <a:prstGeom prst="rect">
            <a:avLst/>
          </a:prstGeom>
          <a:noFill/>
          <a:ln>
            <a:solidFill>
              <a:srgbClr val="004a9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</a:pPr>
            <a:r>
              <a:rPr b="1" i="1" lang="en-US" sz="1400" spc="-1" strike="noStrike">
                <a:solidFill>
                  <a:srgbClr val="000000"/>
                </a:solidFill>
                <a:latin typeface="Calibri"/>
              </a:rPr>
              <a:t>50 Minutes</a:t>
            </a:r>
            <a:endParaRPr b="0" lang="en-US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Rectangle 38"/>
          <p:cNvSpPr/>
          <p:nvPr/>
        </p:nvSpPr>
        <p:spPr>
          <a:xfrm>
            <a:off x="4985640" y="6029280"/>
            <a:ext cx="1371240" cy="264240"/>
          </a:xfrm>
          <a:prstGeom prst="rect">
            <a:avLst/>
          </a:prstGeom>
          <a:noFill/>
          <a:ln w="3175">
            <a:solidFill>
              <a:srgbClr val="004a9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</a:pPr>
            <a:r>
              <a:rPr b="1" i="1" lang="en-US" sz="1200" spc="-1" strike="noStrike">
                <a:solidFill>
                  <a:srgbClr val="000000"/>
                </a:solidFill>
                <a:latin typeface="Arial"/>
              </a:rPr>
              <a:t>1200 – 1205 hrs.</a:t>
            </a:r>
            <a:endParaRPr b="0" lang="en-US" sz="1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Rectangle 39"/>
          <p:cNvSpPr/>
          <p:nvPr/>
        </p:nvSpPr>
        <p:spPr>
          <a:xfrm>
            <a:off x="4985640" y="6479640"/>
            <a:ext cx="1371240" cy="264240"/>
          </a:xfrm>
          <a:prstGeom prst="rect">
            <a:avLst/>
          </a:prstGeom>
          <a:noFill/>
          <a:ln w="3175">
            <a:solidFill>
              <a:srgbClr val="004a9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</a:pPr>
            <a:r>
              <a:rPr b="1" i="1" lang="en-US" sz="1200" spc="-1" strike="noStrike">
                <a:solidFill>
                  <a:srgbClr val="000000"/>
                </a:solidFill>
                <a:latin typeface="Arial"/>
              </a:rPr>
              <a:t>1205 – 1215 hrs.</a:t>
            </a:r>
            <a:r>
              <a:rPr b="1" i="1" lang="en-US" sz="1400" spc="-1" strike="noStrike">
                <a:solidFill>
                  <a:srgbClr val="000000"/>
                </a:solidFill>
                <a:latin typeface="Arial"/>
              </a:rPr>
              <a:t> </a:t>
            </a:r>
            <a:endParaRPr b="0" lang="en-US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Rectangle 40"/>
          <p:cNvSpPr/>
          <p:nvPr/>
        </p:nvSpPr>
        <p:spPr>
          <a:xfrm>
            <a:off x="4985640" y="6930000"/>
            <a:ext cx="1371240" cy="264240"/>
          </a:xfrm>
          <a:prstGeom prst="rect">
            <a:avLst/>
          </a:prstGeom>
          <a:noFill/>
          <a:ln w="3175">
            <a:solidFill>
              <a:srgbClr val="004a9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</a:pPr>
            <a:r>
              <a:rPr b="1" i="1" lang="en-US" sz="1200" spc="-1" strike="noStrike">
                <a:solidFill>
                  <a:srgbClr val="000000"/>
                </a:solidFill>
                <a:latin typeface="Arial"/>
              </a:rPr>
              <a:t>1215 – 1230 hrs.</a:t>
            </a:r>
            <a:endParaRPr b="0" lang="en-US" sz="1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Rectangle 41"/>
          <p:cNvSpPr/>
          <p:nvPr/>
        </p:nvSpPr>
        <p:spPr>
          <a:xfrm>
            <a:off x="4985640" y="7380360"/>
            <a:ext cx="1371240" cy="264240"/>
          </a:xfrm>
          <a:prstGeom prst="rect">
            <a:avLst/>
          </a:prstGeom>
          <a:noFill/>
          <a:ln w="3175">
            <a:solidFill>
              <a:srgbClr val="004a9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</a:pPr>
            <a:r>
              <a:rPr b="1" i="1" lang="en-US" sz="1200" spc="-1" strike="noStrike">
                <a:solidFill>
                  <a:srgbClr val="000000"/>
                </a:solidFill>
                <a:latin typeface="Arial"/>
              </a:rPr>
              <a:t>1230 – 1245 hrs.</a:t>
            </a:r>
            <a:endParaRPr b="0" lang="en-US" sz="1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TextBox 50"/>
          <p:cNvSpPr/>
          <p:nvPr/>
        </p:nvSpPr>
        <p:spPr>
          <a:xfrm>
            <a:off x="517320" y="5961240"/>
            <a:ext cx="4492080" cy="2876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</a:pPr>
            <a:r>
              <a:rPr b="0" lang="en-IN" sz="1300" spc="-1" strike="noStrike">
                <a:solidFill>
                  <a:srgbClr val="000000"/>
                </a:solidFill>
                <a:latin typeface="Arial"/>
                <a:ea typeface="Calibri"/>
              </a:rPr>
              <a:t>Opening remarks by EEPC India – </a:t>
            </a:r>
            <a:r>
              <a:rPr b="1" lang="en-IN" sz="1300" spc="-1" strike="noStrike">
                <a:solidFill>
                  <a:srgbClr val="000000"/>
                </a:solidFill>
                <a:latin typeface="Arial"/>
                <a:ea typeface="Calibri"/>
              </a:rPr>
              <a:t>5 minutes</a:t>
            </a:r>
            <a:endParaRPr b="0" lang="en-US" sz="13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TextBox 56"/>
          <p:cNvSpPr/>
          <p:nvPr/>
        </p:nvSpPr>
        <p:spPr>
          <a:xfrm>
            <a:off x="517320" y="6438960"/>
            <a:ext cx="4251600" cy="2876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</a:pPr>
            <a:r>
              <a:rPr b="0" lang="en-IN" sz="1300" spc="-1" strike="noStrike">
                <a:solidFill>
                  <a:srgbClr val="000000"/>
                </a:solidFill>
                <a:latin typeface="Arial"/>
                <a:ea typeface="Calibri"/>
              </a:rPr>
              <a:t>Address by Ministry of Power/Powergrid</a:t>
            </a:r>
            <a:r>
              <a:rPr b="1" lang="en-IN" sz="1300" spc="-1" strike="noStrike">
                <a:solidFill>
                  <a:srgbClr val="000000"/>
                </a:solidFill>
                <a:latin typeface="Arial"/>
                <a:ea typeface="Calibri"/>
              </a:rPr>
              <a:t> 10 minutes</a:t>
            </a:r>
            <a:endParaRPr b="0" lang="en-US" sz="13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TextBox 63"/>
          <p:cNvSpPr/>
          <p:nvPr/>
        </p:nvSpPr>
        <p:spPr>
          <a:xfrm>
            <a:off x="511200" y="6900480"/>
            <a:ext cx="4492080" cy="2876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</a:pPr>
            <a:r>
              <a:rPr b="0" lang="en-IN" sz="1300" spc="-1" strike="noStrike">
                <a:solidFill>
                  <a:srgbClr val="000000"/>
                </a:solidFill>
                <a:latin typeface="Arial"/>
                <a:ea typeface="Calibri"/>
              </a:rPr>
              <a:t>Presentation on Bharat Electricity Summit – </a:t>
            </a:r>
            <a:r>
              <a:rPr b="1" lang="en-IN" sz="1300" spc="-1" strike="noStrike">
                <a:solidFill>
                  <a:srgbClr val="000000"/>
                </a:solidFill>
                <a:latin typeface="Arial"/>
                <a:ea typeface="Calibri"/>
              </a:rPr>
              <a:t>15 Minutes</a:t>
            </a:r>
            <a:endParaRPr b="0" lang="en-US" sz="13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TextBox 66"/>
          <p:cNvSpPr/>
          <p:nvPr/>
        </p:nvSpPr>
        <p:spPr>
          <a:xfrm>
            <a:off x="517320" y="7329960"/>
            <a:ext cx="4492080" cy="2876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</a:pPr>
            <a:r>
              <a:rPr b="0" lang="en-IN" sz="1300" spc="-1" strike="noStrike">
                <a:solidFill>
                  <a:srgbClr val="000000"/>
                </a:solidFill>
                <a:latin typeface="Arial"/>
              </a:rPr>
              <a:t>Interaction and Q&amp;A Session – </a:t>
            </a:r>
            <a:r>
              <a:rPr b="1" lang="en-IN" sz="1300" spc="-1" strike="noStrike">
                <a:solidFill>
                  <a:srgbClr val="000000"/>
                </a:solidFill>
                <a:latin typeface="Arial"/>
              </a:rPr>
              <a:t>15 Minutes</a:t>
            </a:r>
            <a:endParaRPr b="0" lang="en-US" sz="13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Oval 70"/>
          <p:cNvSpPr/>
          <p:nvPr/>
        </p:nvSpPr>
        <p:spPr>
          <a:xfrm>
            <a:off x="144360" y="6015240"/>
            <a:ext cx="264240" cy="277200"/>
          </a:xfrm>
          <a:prstGeom prst="ellipse">
            <a:avLst/>
          </a:prstGeom>
          <a:solidFill>
            <a:srgbClr val="004a91"/>
          </a:solidFill>
          <a:ln>
            <a:solidFill>
              <a:srgbClr val="1d315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</a:pPr>
            <a:r>
              <a:rPr b="1" lang="en-US" sz="1300" spc="-1" strike="noStrike">
                <a:solidFill>
                  <a:schemeClr val="lt1"/>
                </a:solidFill>
                <a:latin typeface="Calibri"/>
              </a:rPr>
              <a:t>1</a:t>
            </a:r>
            <a:endParaRPr b="0" lang="en-US" sz="1300" spc="-1" strike="noStrike">
              <a:solidFill>
                <a:srgbClr val="ffffff"/>
              </a:solidFill>
              <a:latin typeface="Arial"/>
            </a:endParaRPr>
          </a:p>
        </p:txBody>
      </p:sp>
      <p:sp>
        <p:nvSpPr>
          <p:cNvPr id="75" name="Oval 71"/>
          <p:cNvSpPr/>
          <p:nvPr/>
        </p:nvSpPr>
        <p:spPr>
          <a:xfrm>
            <a:off x="144360" y="6459480"/>
            <a:ext cx="264240" cy="277200"/>
          </a:xfrm>
          <a:prstGeom prst="ellipse">
            <a:avLst/>
          </a:prstGeom>
          <a:solidFill>
            <a:srgbClr val="004a91"/>
          </a:solidFill>
          <a:ln>
            <a:solidFill>
              <a:srgbClr val="1d315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</a:pPr>
            <a:r>
              <a:rPr b="1" lang="en-US" sz="1300" spc="-1" strike="noStrike">
                <a:solidFill>
                  <a:schemeClr val="lt1"/>
                </a:solidFill>
                <a:latin typeface="Calibri"/>
              </a:rPr>
              <a:t>2</a:t>
            </a:r>
            <a:endParaRPr b="0" lang="en-US" sz="1300" spc="-1" strike="noStrike">
              <a:solidFill>
                <a:srgbClr val="ffffff"/>
              </a:solidFill>
              <a:latin typeface="Arial"/>
            </a:endParaRPr>
          </a:p>
        </p:txBody>
      </p:sp>
      <p:sp>
        <p:nvSpPr>
          <p:cNvPr id="76" name="Oval 72"/>
          <p:cNvSpPr/>
          <p:nvPr/>
        </p:nvSpPr>
        <p:spPr>
          <a:xfrm>
            <a:off x="130680" y="6903720"/>
            <a:ext cx="264240" cy="277200"/>
          </a:xfrm>
          <a:prstGeom prst="ellipse">
            <a:avLst/>
          </a:prstGeom>
          <a:solidFill>
            <a:srgbClr val="004a91"/>
          </a:solidFill>
          <a:ln>
            <a:solidFill>
              <a:srgbClr val="1d315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</a:pPr>
            <a:r>
              <a:rPr b="1" lang="en-US" sz="1300" spc="-1" strike="noStrike">
                <a:solidFill>
                  <a:schemeClr val="lt1"/>
                </a:solidFill>
                <a:latin typeface="Calibri"/>
              </a:rPr>
              <a:t>3</a:t>
            </a:r>
            <a:endParaRPr b="0" lang="en-US" sz="1300" spc="-1" strike="noStrike">
              <a:solidFill>
                <a:srgbClr val="ffffff"/>
              </a:solidFill>
              <a:latin typeface="Arial"/>
            </a:endParaRPr>
          </a:p>
        </p:txBody>
      </p:sp>
      <p:sp>
        <p:nvSpPr>
          <p:cNvPr id="77" name="Oval 73"/>
          <p:cNvSpPr/>
          <p:nvPr/>
        </p:nvSpPr>
        <p:spPr>
          <a:xfrm>
            <a:off x="144360" y="7347960"/>
            <a:ext cx="264240" cy="277200"/>
          </a:xfrm>
          <a:prstGeom prst="ellipse">
            <a:avLst/>
          </a:prstGeom>
          <a:solidFill>
            <a:srgbClr val="004a91"/>
          </a:solidFill>
          <a:ln>
            <a:solidFill>
              <a:srgbClr val="1d315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</a:pPr>
            <a:r>
              <a:rPr b="1" lang="en-US" sz="1300" spc="-1" strike="noStrike">
                <a:solidFill>
                  <a:schemeClr val="lt1"/>
                </a:solidFill>
                <a:latin typeface="Calibri"/>
              </a:rPr>
              <a:t>4</a:t>
            </a:r>
            <a:endParaRPr b="0" lang="en-US" sz="1300" spc="-1" strike="noStrike">
              <a:solidFill>
                <a:srgbClr val="ffffff"/>
              </a:solidFill>
              <a:latin typeface="Arial"/>
            </a:endParaRPr>
          </a:p>
        </p:txBody>
      </p:sp>
      <p:cxnSp>
        <p:nvCxnSpPr>
          <p:cNvPr id="78" name="Straight Connector 79"/>
          <p:cNvCxnSpPr/>
          <p:nvPr/>
        </p:nvCxnSpPr>
        <p:spPr>
          <a:xfrm>
            <a:off x="1882800" y="5819400"/>
            <a:ext cx="3092400" cy="360"/>
          </a:xfrm>
          <a:prstGeom prst="straightConnector1">
            <a:avLst/>
          </a:prstGeom>
          <a:ln w="19050">
            <a:solidFill>
              <a:srgbClr val="004a91"/>
            </a:solidFill>
          </a:ln>
        </p:spPr>
      </p:cxnSp>
      <p:pic>
        <p:nvPicPr>
          <p:cNvPr id="79" name="Picture 6" descr=""/>
          <p:cNvPicPr/>
          <p:nvPr/>
        </p:nvPicPr>
        <p:blipFill>
          <a:blip r:embed="rId3"/>
          <a:stretch/>
        </p:blipFill>
        <p:spPr>
          <a:xfrm>
            <a:off x="2049840" y="316080"/>
            <a:ext cx="2410920" cy="851040"/>
          </a:xfrm>
          <a:prstGeom prst="rect">
            <a:avLst/>
          </a:prstGeom>
          <a:ln w="0">
            <a:noFill/>
          </a:ln>
        </p:spPr>
      </p:pic>
      <p:pic>
        <p:nvPicPr>
          <p:cNvPr id="80" name="Picture 13" descr=""/>
          <p:cNvPicPr/>
          <p:nvPr/>
        </p:nvPicPr>
        <p:blipFill>
          <a:blip r:embed="rId4"/>
          <a:stretch/>
        </p:blipFill>
        <p:spPr>
          <a:xfrm>
            <a:off x="298800" y="339840"/>
            <a:ext cx="1238040" cy="694080"/>
          </a:xfrm>
          <a:prstGeom prst="rect">
            <a:avLst/>
          </a:prstGeom>
          <a:ln w="0">
            <a:noFill/>
          </a:ln>
        </p:spPr>
      </p:pic>
      <p:sp>
        <p:nvSpPr>
          <p:cNvPr id="81" name="TextBox 47"/>
          <p:cNvSpPr/>
          <p:nvPr/>
        </p:nvSpPr>
        <p:spPr>
          <a:xfrm>
            <a:off x="517320" y="7761600"/>
            <a:ext cx="4251600" cy="2876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</a:pPr>
            <a:r>
              <a:rPr b="0" lang="en-IN" sz="1300" spc="-1" strike="noStrike">
                <a:solidFill>
                  <a:srgbClr val="000000"/>
                </a:solidFill>
                <a:latin typeface="Arial"/>
                <a:ea typeface="Calibri"/>
              </a:rPr>
              <a:t>Vote of Thanks –</a:t>
            </a:r>
            <a:r>
              <a:rPr b="1" lang="en-IN" sz="1300" spc="-1" strike="noStrike">
                <a:solidFill>
                  <a:srgbClr val="000000"/>
                </a:solidFill>
                <a:latin typeface="Arial"/>
                <a:ea typeface="Calibri"/>
              </a:rPr>
              <a:t> 5 Minutes</a:t>
            </a:r>
            <a:endParaRPr b="0" lang="en-US" sz="13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2" name="Oval 48"/>
          <p:cNvSpPr/>
          <p:nvPr/>
        </p:nvSpPr>
        <p:spPr>
          <a:xfrm>
            <a:off x="130680" y="7773480"/>
            <a:ext cx="264240" cy="277200"/>
          </a:xfrm>
          <a:prstGeom prst="ellipse">
            <a:avLst/>
          </a:prstGeom>
          <a:solidFill>
            <a:srgbClr val="004a91"/>
          </a:solidFill>
          <a:ln>
            <a:solidFill>
              <a:srgbClr val="1d315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</a:pPr>
            <a:r>
              <a:rPr b="1" lang="en-US" sz="1300" spc="-1" strike="noStrike">
                <a:solidFill>
                  <a:schemeClr val="lt1"/>
                </a:solidFill>
                <a:latin typeface="Calibri"/>
              </a:rPr>
              <a:t>5</a:t>
            </a:r>
            <a:endParaRPr b="0" lang="en-US" sz="1300" spc="-1" strike="noStrike">
              <a:solidFill>
                <a:srgbClr val="ffffff"/>
              </a:solidFill>
              <a:latin typeface="Arial"/>
            </a:endParaRPr>
          </a:p>
        </p:txBody>
      </p:sp>
      <p:sp>
        <p:nvSpPr>
          <p:cNvPr id="83" name="Rectangle 49"/>
          <p:cNvSpPr/>
          <p:nvPr/>
        </p:nvSpPr>
        <p:spPr>
          <a:xfrm>
            <a:off x="4995720" y="7804080"/>
            <a:ext cx="1371240" cy="315000"/>
          </a:xfrm>
          <a:prstGeom prst="rect">
            <a:avLst/>
          </a:prstGeom>
          <a:noFill/>
          <a:ln w="3175">
            <a:solidFill>
              <a:srgbClr val="004a9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</a:pPr>
            <a:r>
              <a:rPr b="1" i="1" lang="en-US" sz="1200" spc="-1" strike="noStrike">
                <a:solidFill>
                  <a:srgbClr val="000000"/>
                </a:solidFill>
                <a:latin typeface="Arial"/>
              </a:rPr>
              <a:t>1245 – 1250 hrs.</a:t>
            </a:r>
            <a:endParaRPr b="0" lang="en-US" sz="12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84" name="Picture 4" descr=""/>
          <p:cNvPicPr/>
          <p:nvPr/>
        </p:nvPicPr>
        <p:blipFill>
          <a:blip r:embed="rId5"/>
          <a:stretch/>
        </p:blipFill>
        <p:spPr>
          <a:xfrm>
            <a:off x="1216440" y="9186480"/>
            <a:ext cx="4043160" cy="705960"/>
          </a:xfrm>
          <a:prstGeom prst="rect">
            <a:avLst/>
          </a:prstGeom>
          <a:ln w="0">
            <a:noFill/>
          </a:ln>
        </p:spPr>
      </p:pic>
      <p:cxnSp>
        <p:nvCxnSpPr>
          <p:cNvPr id="85" name="Straight Connector 51"/>
          <p:cNvCxnSpPr/>
          <p:nvPr/>
        </p:nvCxnSpPr>
        <p:spPr>
          <a:xfrm>
            <a:off x="9360" y="9132840"/>
            <a:ext cx="6849000" cy="41040"/>
          </a:xfrm>
          <a:prstGeom prst="straightConnector1">
            <a:avLst/>
          </a:prstGeom>
          <a:ln>
            <a:solidFill>
              <a:srgbClr val="5b9bd5"/>
            </a:solidFill>
          </a:ln>
        </p:spPr>
      </p:cxn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theme/theme1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6350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1270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customXml/_rels/item1.xml.rels><?xml version="1.0" encoding="UTF-8"?>
<Relationships xmlns="http://schemas.openxmlformats.org/package/2006/relationships"><Relationship Id="rId1" Type="http://schemas.openxmlformats.org/officeDocument/2006/relationships/customXmlProps" Target="itemProps1.xml"/>
</Relationships>
</file>

<file path=customXml/_rels/item2.xml.rels><?xml version="1.0" encoding="UTF-8"?>
<Relationships xmlns="http://schemas.openxmlformats.org/package/2006/relationships"><Relationship Id="rId1" Type="http://schemas.openxmlformats.org/officeDocument/2006/relationships/customXmlProps" Target="itemProps2.xml"/>
</Relationships>
</file>

<file path=customXml/_rels/item3.xml.rels><?xml version="1.0" encoding="UTF-8"?>
<Relationships xmlns="http://schemas.openxmlformats.org/package/2006/relationships"><Relationship Id="rId1" Type="http://schemas.openxmlformats.org/officeDocument/2006/relationships/customXmlProps" Target="itemProps3.xml"/>
</Relationships>
</file>

<file path=customXml/_rels/item4.xml.rels><?xml version="1.0" encoding="UTF-8"?>
<Relationships xmlns="http://schemas.openxmlformats.org/package/2006/relationships"><Relationship Id="rId1" Type="http://schemas.openxmlformats.org/officeDocument/2006/relationships/customXmlProps" Target="itemProps4.xml"/>
</Relationships>
</file>

<file path=customXml/_rels/item5.xml.rels><?xml version="1.0" encoding="UTF-8"?>
<Relationships xmlns="http://schemas.openxmlformats.org/package/2006/relationships"><Relationship Id="rId1" Type="http://schemas.openxmlformats.org/officeDocument/2006/relationships/customXmlProps" Target="itemProps5.xml"/>
</Relationships>
</file>

<file path=customXml/_rels/item6.xml.rels><?xml version="1.0" encoding="UTF-8"?>
<Relationships xmlns="http://schemas.openxmlformats.org/package/2006/relationships"><Relationship Id="rId1" Type="http://schemas.openxmlformats.org/officeDocument/2006/relationships/customXmlProps" Target="itemProps6.xml"/>
</Relationships>
</file>

<file path=customXml/_rels/item7.xml.rels><?xml version="1.0" encoding="UTF-8"?>
<Relationships xmlns="http://schemas.openxmlformats.org/package/2006/relationships"><Relationship Id="rId1" Type="http://schemas.openxmlformats.org/officeDocument/2006/relationships/customXmlProps" Target="itemProps7.xml"/>
</Relationships>
</file>

<file path=customXml/_rels/item8.xml.rels><?xml version="1.0" encoding="UTF-8"?>
<Relationships xmlns="http://schemas.openxmlformats.org/package/2006/relationships"><Relationship Id="rId1" Type="http://schemas.openxmlformats.org/officeDocument/2006/relationships/customXmlProps" Target="itemProps8.xml"/>
</Relationships>
</file>

<file path=customXml/item1.xml><?xml version="1.0" encoding="utf-8"?>
<DcR_SlideID>9afd9e1f-c9de-4d8e-8e67-778e159e995d</DcR_SlideID>
</file>

<file path=customXml/item2.xml><?xml version="1.0" encoding="utf-8"?>
<DcR_SlideID>9ebf3f1b-1cc5-43d0-aa65-509fbf0ac494</DcR_SlideID>
</file>

<file path=customXml/item3.xml><?xml version="1.0" encoding="utf-8"?>
<DcR_SlideID>70005010-0427-4674-975d-9305dc59233e</DcR_SlideID>
</file>

<file path=customXml/item4.xml><?xml version="1.0" encoding="utf-8"?>
<DcR_SlideID>ab16411d-8cc5-4ba9-8959-ee843f160133</DcR_SlideID>
</file>

<file path=customXml/item5.xml><?xml version="1.0" encoding="utf-8"?>
<DcR_SlideID>cb95414b-08c8-49f1-8845-16bef257849a</DcR_SlideID>
</file>

<file path=customXml/item6.xml><?xml version="1.0" encoding="utf-8"?>
<DcR_SlideID>a250568e-4eda-4439-be53-f28f4a514100</DcR_SlideID>
</file>

<file path=customXml/item7.xml><?xml version="1.0" encoding="utf-8"?>
<DcR_SlideID>84ab5936-fe19-415a-8032-6b8a0117ff34</DcR_SlideID>
</file>

<file path=customXml/item8.xml><?xml version="1.0" encoding="utf-8"?>
<DcR_SlideID>b2880e61-35d5-4da1-8057-843e8fc6bcaa</DcR_SlideID>
</file>

<file path=customXml/itemProps1.xml><?xml version="1.0" encoding="utf-8"?>
<ds:datastoreItem xmlns:ds="http://schemas.openxmlformats.org/officeDocument/2006/customXml" ds:itemID="{47919BA2-210C-4505-957C-374DEF6883E5}">
  <ds:schemaRefs/>
</ds:datastoreItem>
</file>

<file path=customXml/itemProps2.xml><?xml version="1.0" encoding="utf-8"?>
<ds:datastoreItem xmlns:ds="http://schemas.openxmlformats.org/officeDocument/2006/customXml" ds:itemID="{E192C94A-7B2B-4452-AD1B-9C1D1621F23C}">
  <ds:schemaRefs/>
</ds:datastoreItem>
</file>

<file path=customXml/itemProps3.xml><?xml version="1.0" encoding="utf-8"?>
<ds:datastoreItem xmlns:ds="http://schemas.openxmlformats.org/officeDocument/2006/customXml" ds:itemID="{7E08AB6A-4BB9-4F12-8F11-A9AF3441E47E}">
  <ds:schemaRefs/>
</ds:datastoreItem>
</file>

<file path=customXml/itemProps4.xml><?xml version="1.0" encoding="utf-8"?>
<ds:datastoreItem xmlns:ds="http://schemas.openxmlformats.org/officeDocument/2006/customXml" ds:itemID="{6685D9D0-F893-41F9-B41F-E2E051BD7C74}">
  <ds:schemaRefs/>
</ds:datastoreItem>
</file>

<file path=customXml/itemProps5.xml><?xml version="1.0" encoding="utf-8"?>
<ds:datastoreItem xmlns:ds="http://schemas.openxmlformats.org/officeDocument/2006/customXml" ds:itemID="{A88AB336-7F46-48CE-BC00-699483E21112}">
  <ds:schemaRefs/>
</ds:datastoreItem>
</file>

<file path=customXml/itemProps6.xml><?xml version="1.0" encoding="utf-8"?>
<ds:datastoreItem xmlns:ds="http://schemas.openxmlformats.org/officeDocument/2006/customXml" ds:itemID="{6095FD09-68E6-47B4-9B11-33857A446E1D}">
  <ds:schemaRefs/>
</ds:datastoreItem>
</file>

<file path=customXml/itemProps7.xml><?xml version="1.0" encoding="utf-8"?>
<ds:datastoreItem xmlns:ds="http://schemas.openxmlformats.org/officeDocument/2006/customXml" ds:itemID="{9FAB92F2-86CE-4301-9118-A9E4A32C1C2B}">
  <ds:schemaRefs/>
</ds:datastoreItem>
</file>

<file path=customXml/itemProps8.xml><?xml version="1.0" encoding="utf-8"?>
<ds:datastoreItem xmlns:ds="http://schemas.openxmlformats.org/officeDocument/2006/customXml" ds:itemID="{C753573C-B126-48C7-B557-D5B58C9FB5CE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2406</TotalTime>
  <Application>LibreOffice/7.5.9.2$Linux_X86_64 LibreOffice_project/50$Build-2</Application>
  <AppVersion>15.0000</AppVersion>
  <Words>137</Words>
  <Paragraphs>30</Paragraphs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24-08-05T18:41:18Z</dcterms:created>
  <dc:creator>Ayushi Gupta (IN)</dc:creator>
  <dc:description/>
  <dc:language>en-US</dc:language>
  <cp:lastModifiedBy>PREM CHOUDHARY</cp:lastModifiedBy>
  <cp:lastPrinted>2025-11-27T12:21:04Z</cp:lastPrinted>
  <dcterms:modified xsi:type="dcterms:W3CDTF">2025-11-27T13:12:35Z</dcterms:modified>
  <cp:revision>40</cp:revision>
  <dc:subject/>
  <dc:title>PowerPoint Presentation</dc:titl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resentationFormat">
    <vt:lpwstr>A4 Paper (210x297 mm)</vt:lpwstr>
  </property>
  <property fmtid="{D5CDD505-2E9C-101B-9397-08002B2CF9AE}" pid="3" name="Slides">
    <vt:i4>1</vt:i4>
  </property>
</Properties>
</file>